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3" r:id="rId1"/>
    <p:sldMasterId id="2147483956" r:id="rId2"/>
  </p:sldMasterIdLst>
  <p:notesMasterIdLst>
    <p:notesMasterId r:id="rId18"/>
  </p:notesMasterIdLst>
  <p:handoutMasterIdLst>
    <p:handoutMasterId r:id="rId19"/>
  </p:handoutMasterIdLst>
  <p:sldIdLst>
    <p:sldId id="2134805322" r:id="rId3"/>
    <p:sldId id="2134805325" r:id="rId4"/>
    <p:sldId id="2134805328" r:id="rId5"/>
    <p:sldId id="2134805329" r:id="rId6"/>
    <p:sldId id="2134805330" r:id="rId7"/>
    <p:sldId id="2134805309" r:id="rId8"/>
    <p:sldId id="2147474914" r:id="rId9"/>
    <p:sldId id="2147474919" r:id="rId10"/>
    <p:sldId id="2147474927" r:id="rId11"/>
    <p:sldId id="2147474930" r:id="rId12"/>
    <p:sldId id="258" r:id="rId13"/>
    <p:sldId id="2147474924" r:id="rId14"/>
    <p:sldId id="2134805323" r:id="rId15"/>
    <p:sldId id="2147474923" r:id="rId16"/>
    <p:sldId id="2147474903" r:id="rId17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135"/>
    <a:srgbClr val="E03DCD"/>
    <a:srgbClr val="005AFF"/>
    <a:srgbClr val="00000E"/>
    <a:srgbClr val="F2F2F2"/>
    <a:srgbClr val="F9F9F9"/>
    <a:srgbClr val="EBEBEB"/>
    <a:srgbClr val="CCCCCC"/>
    <a:srgbClr val="FF3154"/>
    <a:srgbClr val="001D47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547C88-CE91-7949-94B7-A031A3DC5809}" v="529" dt="2024-06-05T19:38:31.030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–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3" autoAdjust="0"/>
    <p:restoredTop sz="96197" autoAdjust="0"/>
  </p:normalViewPr>
  <p:slideViewPr>
    <p:cSldViewPr snapToGrid="0">
      <p:cViewPr varScale="1">
        <p:scale>
          <a:sx n="159" d="100"/>
          <a:sy n="159" d="100"/>
        </p:scale>
        <p:origin x="224" y="18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24" d="100"/>
        <a:sy n="124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22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B4792F-1C1F-0D17-7AA4-5C5020823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D83F5-344D-BAE4-C8A2-71BA3CC5E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DF5385-C229-4E76-AB53-F96E0BF89089}" type="datetimeFigureOut">
              <a:rPr lang="en-US" smtClean="0"/>
              <a:t>5/3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E43308-3D00-ED32-3882-ECB453AF02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047575-0E03-09FC-41EA-B8C221864F9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0760E2-E849-4EFC-A610-8FAC19CC55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1069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03831C-DEBA-4A3A-8C36-FD8115E217DA}" type="datetimeFigureOut">
              <a:rPr lang="en-US" smtClean="0"/>
              <a:t>5/3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D4EF5B-ECC8-43EE-A509-D601DDF42A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180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1692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9889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8692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I" sz="1200" dirty="0">
              <a:solidFill>
                <a:srgbClr val="000000"/>
              </a:solidFill>
              <a:effectLst/>
              <a:latin typeface="Arial" panose="020B0604020202020204" pitchFamily="34" charset="0"/>
              <a:ea typeface="Aptos" panose="020B0004020202020204" pitchFamily="34" charset="0"/>
            </a:endParaRPr>
          </a:p>
          <a:p>
            <a:pPr algn="just"/>
            <a:r>
              <a:rPr lang="en-FI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</a:rPr>
              <a:t> </a:t>
            </a:r>
          </a:p>
          <a:p>
            <a:pPr algn="just"/>
            <a:r>
              <a:rPr lang="en-FI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1791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</a:rPr>
              <a:t> </a:t>
            </a:r>
            <a:endParaRPr lang="en-FI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Aptos" panose="020B0004020202020204" pitchFamily="34" charset="0"/>
            </a:endParaRPr>
          </a:p>
          <a:p>
            <a:pPr algn="just"/>
            <a:r>
              <a:rPr lang="en-FI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2041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6263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FI" sz="900" dirty="0">
              <a:solidFill>
                <a:srgbClr val="000000"/>
              </a:solidFill>
              <a:effectLst/>
              <a:latin typeface="Arial" panose="020B0604020202020204" pitchFamily="34" charset="0"/>
              <a:ea typeface="Aptos" panose="020B00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4584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n-FI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539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947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4908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FI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Aptos" panose="020B00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0209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342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123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I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Aptos" panose="020B00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6671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8D4EF5B-ECC8-43EE-A509-D601DDF42AD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77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sv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sv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8.jpeg"/><Relationship Id="rId4" Type="http://schemas.openxmlformats.org/officeDocument/2006/relationships/image" Target="../media/image7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4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25.jpeg"/><Relationship Id="rId4" Type="http://schemas.openxmlformats.org/officeDocument/2006/relationships/image" Target="../media/image28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9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18.png"/><Relationship Id="rId5" Type="http://schemas.openxmlformats.org/officeDocument/2006/relationships/image" Target="../media/image29.jpeg"/><Relationship Id="rId4" Type="http://schemas.openxmlformats.org/officeDocument/2006/relationships/image" Target="../media/image28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0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1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2CC8E39-9A4E-A4DF-F50E-11E2BDCAFF7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4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4684DA7-0D8A-B949-344B-2DA84CB93D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6E4F0CF6-F16F-8670-1980-E9ED719A0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57C485-AAE3-8CE0-B84B-C83F4093C08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1916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1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83519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2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668377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3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1A68076-E163-16F0-6643-612506DC25C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DBD7350-FFE3-8F35-04ED-B83CAB700A0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E90EBC0-49DE-3234-6D8A-7B5E88E2D9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147FFC8-BCFC-9C91-34CB-FA2757B9FCD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4522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4 - 1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5C5286A-148E-6CAC-4953-28CEC8A7AC6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8C09A251-3EA9-3813-C32A-42674B11B3B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DDBC5E9-DF95-1530-C94F-AC94C8FDD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9E8CF51-8E48-6828-423E-617B4E1565E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48053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5 - 2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6D7398D-CEE7-3079-FB86-A89C992F31A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3654D0DC-83E2-3257-B441-08F7D9D9447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47C68A9-7989-FB66-D55B-D66D6874D9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FC902BB-0C0A-0354-8619-93CF785E9CB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3964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6 - 3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3C89AA2-17C4-2311-08AF-1321E11749F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713EB45-843B-9A1C-345B-468536A7E0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C77A4B8F-49F4-2929-427A-DF7B92A561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04B3FDD-9CA0-11D4-0851-6220AEF7224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4944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7 - 4x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523A0E-155F-824D-4618-C556416C4B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3DCBE36C-4C66-1188-03D3-624F2E47A38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45644240-BAFF-42B5-1A7E-4A3EC1F84D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36F73B2-E419-4B3A-6889-6AD4A8D02A4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275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8 -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tx2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tx2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tx2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tx2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138E23A-1A2B-4FC2-057E-864010EF96E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417762A-54B1-36A8-F29E-69737B3F61F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395D9105-CDC3-7AF1-1035-8F0BB27B98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53F7E12-5AAE-379F-13F1-075F4E93E97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43354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9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accent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/>
              <a:t>Click to edit headlin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AB3D1D-D95D-CC81-FF15-1A1F6BE049F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D043C3F-DBA3-47D4-A317-9E02DADB3E0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7253B20-AD10-1261-4A70-76072ED404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31386DAF-78F1-64A8-A51B-3B6BA0A20C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accent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124B01-6D4E-ECB8-589F-7F656C99B60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74173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1 - Bullet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0"/>
            <a:ext cx="4572001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72230E8-8C3E-FACC-BB83-0BEB16548E5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FD06BD2-8C82-3A42-EA94-1DAD5F04366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30DEAEC4-E0F3-9FCE-BAAF-FDB63BC5E6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B842875-218D-9D8A-5783-0C33E936FF9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01307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1.2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96536833-5211-82D7-BB50-42615CD1B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05" name="Freeform 333">
            <a:extLst>
              <a:ext uri="{FF2B5EF4-FFF2-40B4-BE49-F238E27FC236}">
                <a16:creationId xmlns:a16="http://schemas.microsoft.com/office/drawing/2014/main" id="{D6BCF358-C3E3-BB56-F4AF-345664FE3C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960686" y="4292376"/>
            <a:ext cx="10160185" cy="1402999"/>
          </a:xfrm>
          <a:custGeom>
            <a:avLst/>
            <a:gdLst>
              <a:gd name="T0" fmla="*/ 0 w 18043"/>
              <a:gd name="T1" fmla="*/ 1145791436 h 8841"/>
              <a:gd name="T2" fmla="*/ 0 w 18043"/>
              <a:gd name="T3" fmla="*/ 1145791436 h 8841"/>
              <a:gd name="T4" fmla="*/ 2147483646 w 18043"/>
              <a:gd name="T5" fmla="*/ 0 h 8841"/>
              <a:gd name="T6" fmla="*/ 2147483646 w 18043"/>
              <a:gd name="T7" fmla="*/ 24367595 h 8841"/>
              <a:gd name="T8" fmla="*/ 881823576 w 18043"/>
              <a:gd name="T9" fmla="*/ 792462388 h 8841"/>
              <a:gd name="T10" fmla="*/ 1146902236 w 18043"/>
              <a:gd name="T11" fmla="*/ 1139440323 h 8841"/>
              <a:gd name="T12" fmla="*/ 0 w 18043"/>
              <a:gd name="T13" fmla="*/ 1145791436 h 884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043" h="8841">
                <a:moveTo>
                  <a:pt x="0" y="8840"/>
                </a:moveTo>
                <a:lnTo>
                  <a:pt x="0" y="8840"/>
                </a:lnTo>
                <a:cubicBezTo>
                  <a:pt x="0" y="8840"/>
                  <a:pt x="1809" y="990"/>
                  <a:pt x="18042" y="0"/>
                </a:cubicBezTo>
                <a:cubicBezTo>
                  <a:pt x="18042" y="188"/>
                  <a:pt x="18042" y="188"/>
                  <a:pt x="18042" y="188"/>
                </a:cubicBezTo>
                <a:cubicBezTo>
                  <a:pt x="18042" y="188"/>
                  <a:pt x="6254" y="1981"/>
                  <a:pt x="6803" y="6114"/>
                </a:cubicBezTo>
                <a:cubicBezTo>
                  <a:pt x="6803" y="6114"/>
                  <a:pt x="6983" y="7612"/>
                  <a:pt x="8848" y="8791"/>
                </a:cubicBezTo>
                <a:lnTo>
                  <a:pt x="0" y="8840"/>
                </a:lnTo>
              </a:path>
            </a:pathLst>
          </a:custGeom>
          <a:solidFill>
            <a:srgbClr val="001135">
              <a:alpha val="54000"/>
            </a:srgb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685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350" b="0" i="0" u="none" strike="noStrike" kern="1200" cap="none" spc="0" normalizeH="0" baseline="0" noProof="0">
              <a:ln>
                <a:noFill/>
              </a:ln>
              <a:solidFill>
                <a:srgbClr val="98999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3" name="Freeform 602">
            <a:extLst>
              <a:ext uri="{FF2B5EF4-FFF2-40B4-BE49-F238E27FC236}">
                <a16:creationId xmlns:a16="http://schemas.microsoft.com/office/drawing/2014/main" id="{AF70AAC4-4DA0-E434-DE34-1C7AD1AA1894}"/>
              </a:ext>
            </a:extLst>
          </p:cNvPr>
          <p:cNvSpPr/>
          <p:nvPr/>
        </p:nvSpPr>
        <p:spPr>
          <a:xfrm>
            <a:off x="1404075" y="4299980"/>
            <a:ext cx="7933571" cy="1176040"/>
          </a:xfrm>
          <a:custGeom>
            <a:avLst/>
            <a:gdLst>
              <a:gd name="connsiteX0" fmla="*/ 0 w 3776597"/>
              <a:gd name="connsiteY0" fmla="*/ 2279737 h 2279737"/>
              <a:gd name="connsiteX1" fmla="*/ 3776597 w 3776597"/>
              <a:gd name="connsiteY1" fmla="*/ 0 h 2279737"/>
              <a:gd name="connsiteX0" fmla="*/ 0 w 3419606"/>
              <a:gd name="connsiteY0" fmla="*/ 2242159 h 2242159"/>
              <a:gd name="connsiteX1" fmla="*/ 3419606 w 3419606"/>
              <a:gd name="connsiteY1" fmla="*/ 0 h 2242159"/>
              <a:gd name="connsiteX0" fmla="*/ 0 w 3419606"/>
              <a:gd name="connsiteY0" fmla="*/ 2242159 h 2242159"/>
              <a:gd name="connsiteX1" fmla="*/ 1709090 w 3419606"/>
              <a:gd name="connsiteY1" fmla="*/ 1130017 h 2242159"/>
              <a:gd name="connsiteX2" fmla="*/ 3419606 w 3419606"/>
              <a:gd name="connsiteY2" fmla="*/ 0 h 2242159"/>
              <a:gd name="connsiteX0" fmla="*/ 0 w 3419606"/>
              <a:gd name="connsiteY0" fmla="*/ 2242159 h 2242159"/>
              <a:gd name="connsiteX1" fmla="*/ 1011200 w 3419606"/>
              <a:gd name="connsiteY1" fmla="*/ 570264 h 2242159"/>
              <a:gd name="connsiteX2" fmla="*/ 3419606 w 3419606"/>
              <a:gd name="connsiteY2" fmla="*/ 0 h 2242159"/>
              <a:gd name="connsiteX0" fmla="*/ 0 w 3419606"/>
              <a:gd name="connsiteY0" fmla="*/ 2242159 h 2242159"/>
              <a:gd name="connsiteX1" fmla="*/ 1011200 w 3419606"/>
              <a:gd name="connsiteY1" fmla="*/ 570264 h 2242159"/>
              <a:gd name="connsiteX2" fmla="*/ 3419606 w 3419606"/>
              <a:gd name="connsiteY2" fmla="*/ 0 h 2242159"/>
              <a:gd name="connsiteX0" fmla="*/ 0 w 3419606"/>
              <a:gd name="connsiteY0" fmla="*/ 2242159 h 2242159"/>
              <a:gd name="connsiteX1" fmla="*/ 1047691 w 3419606"/>
              <a:gd name="connsiteY1" fmla="*/ 725985 h 2242159"/>
              <a:gd name="connsiteX2" fmla="*/ 3419606 w 3419606"/>
              <a:gd name="connsiteY2" fmla="*/ 0 h 2242159"/>
              <a:gd name="connsiteX0" fmla="*/ 0 w 3419606"/>
              <a:gd name="connsiteY0" fmla="*/ 2242159 h 2242159"/>
              <a:gd name="connsiteX1" fmla="*/ 1047691 w 3419606"/>
              <a:gd name="connsiteY1" fmla="*/ 725985 h 2242159"/>
              <a:gd name="connsiteX2" fmla="*/ 3419606 w 3419606"/>
              <a:gd name="connsiteY2" fmla="*/ 0 h 2242159"/>
              <a:gd name="connsiteX0" fmla="*/ 0 w 3419606"/>
              <a:gd name="connsiteY0" fmla="*/ 2242159 h 2242159"/>
              <a:gd name="connsiteX1" fmla="*/ 892604 w 3419606"/>
              <a:gd name="connsiteY1" fmla="*/ 860663 h 2242159"/>
              <a:gd name="connsiteX2" fmla="*/ 3419606 w 3419606"/>
              <a:gd name="connsiteY2" fmla="*/ 0 h 2242159"/>
              <a:gd name="connsiteX0" fmla="*/ 0 w 3437851"/>
              <a:gd name="connsiteY0" fmla="*/ 2246368 h 2246368"/>
              <a:gd name="connsiteX1" fmla="*/ 910849 w 3437851"/>
              <a:gd name="connsiteY1" fmla="*/ 860663 h 2246368"/>
              <a:gd name="connsiteX2" fmla="*/ 3437851 w 3437851"/>
              <a:gd name="connsiteY2" fmla="*/ 0 h 2246368"/>
              <a:gd name="connsiteX0" fmla="*/ 0 w 3437851"/>
              <a:gd name="connsiteY0" fmla="*/ 2246368 h 2246368"/>
              <a:gd name="connsiteX1" fmla="*/ 910849 w 3437851"/>
              <a:gd name="connsiteY1" fmla="*/ 860663 h 2246368"/>
              <a:gd name="connsiteX2" fmla="*/ 3437851 w 3437851"/>
              <a:gd name="connsiteY2" fmla="*/ 0 h 2246368"/>
              <a:gd name="connsiteX0" fmla="*/ 0 w 3394113"/>
              <a:gd name="connsiteY0" fmla="*/ 2259083 h 2259083"/>
              <a:gd name="connsiteX1" fmla="*/ 867111 w 3394113"/>
              <a:gd name="connsiteY1" fmla="*/ 860663 h 2259083"/>
              <a:gd name="connsiteX2" fmla="*/ 3394113 w 3394113"/>
              <a:gd name="connsiteY2" fmla="*/ 0 h 2259083"/>
              <a:gd name="connsiteX0" fmla="*/ 0 w 3394113"/>
              <a:gd name="connsiteY0" fmla="*/ 2259083 h 2259083"/>
              <a:gd name="connsiteX1" fmla="*/ 867111 w 3394113"/>
              <a:gd name="connsiteY1" fmla="*/ 860663 h 2259083"/>
              <a:gd name="connsiteX2" fmla="*/ 3394113 w 3394113"/>
              <a:gd name="connsiteY2" fmla="*/ 0 h 2259083"/>
              <a:gd name="connsiteX0" fmla="*/ 0 w 3394113"/>
              <a:gd name="connsiteY0" fmla="*/ 2259083 h 2259083"/>
              <a:gd name="connsiteX1" fmla="*/ 867111 w 3394113"/>
              <a:gd name="connsiteY1" fmla="*/ 860663 h 2259083"/>
              <a:gd name="connsiteX2" fmla="*/ 3394113 w 3394113"/>
              <a:gd name="connsiteY2" fmla="*/ 0 h 2259083"/>
              <a:gd name="connsiteX0" fmla="*/ 0 w 3394113"/>
              <a:gd name="connsiteY0" fmla="*/ 2259083 h 2259083"/>
              <a:gd name="connsiteX1" fmla="*/ 867111 w 3394113"/>
              <a:gd name="connsiteY1" fmla="*/ 860663 h 2259083"/>
              <a:gd name="connsiteX2" fmla="*/ 3394113 w 3394113"/>
              <a:gd name="connsiteY2" fmla="*/ 0 h 2259083"/>
              <a:gd name="connsiteX0" fmla="*/ 0 w 3394113"/>
              <a:gd name="connsiteY0" fmla="*/ 2259083 h 2259083"/>
              <a:gd name="connsiteX1" fmla="*/ 840771 w 3394113"/>
              <a:gd name="connsiteY1" fmla="*/ 842118 h 2259083"/>
              <a:gd name="connsiteX2" fmla="*/ 3394113 w 3394113"/>
              <a:gd name="connsiteY2" fmla="*/ 0 h 225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94113" h="2259083">
                <a:moveTo>
                  <a:pt x="0" y="2259083"/>
                </a:moveTo>
                <a:cubicBezTo>
                  <a:pt x="18271" y="1761511"/>
                  <a:pt x="275086" y="1218632"/>
                  <a:pt x="840771" y="842118"/>
                </a:cubicBezTo>
                <a:cubicBezTo>
                  <a:pt x="1406457" y="465604"/>
                  <a:pt x="1914991" y="230543"/>
                  <a:pt x="3394113" y="0"/>
                </a:cubicBezTo>
              </a:path>
            </a:pathLst>
          </a:custGeom>
          <a:ln w="12700">
            <a:gradFill>
              <a:gsLst>
                <a:gs pos="0">
                  <a:schemeClr val="accent1">
                    <a:lumMod val="5000"/>
                    <a:lumOff val="95000"/>
                    <a:alpha val="16000"/>
                  </a:schemeClr>
                </a:gs>
                <a:gs pos="100000">
                  <a:schemeClr val="bg1"/>
                </a:gs>
              </a:gsLst>
              <a:lin ang="5400000" scaled="1"/>
            </a:gra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CCCCCC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AE9558-F65E-E57A-5394-E3FBBB881C0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4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92A02F9-A52E-683F-E045-1AFEBB2E551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2949A3C7-28A6-58FC-0E18-DC956F4648A9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4AA98FC-E577-274F-771E-82560F85DC9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56432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2 - Bullet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34747-CAC6-E3AB-43A2-737599B9350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408B049-B5A6-319C-6604-4CB974379CE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6BE57E5-418C-3CAD-E431-901873F593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C046F9B-D4E9-66C2-A0FB-F251F890F0E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10484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3 - Bullet 1/2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4572000" y="0"/>
            <a:ext cx="4571999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378890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37889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B2B362-2879-6819-D5A2-C7BE4DDA16A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0008FED-F579-32FA-B396-B46F632C45F4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8639B8D9-7FD8-8F41-6E5A-1F2F111B9E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632CA16-E6FF-0535-892D-E7A6EA5DA9E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7874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.4 - Bullet 2/3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51B0A98-E900-A313-EA54-FE650CDD9251}"/>
              </a:ext>
            </a:extLst>
          </p:cNvPr>
          <p:cNvSpPr/>
          <p:nvPr userDrawn="1"/>
        </p:nvSpPr>
        <p:spPr>
          <a:xfrm>
            <a:off x="3096000" y="0"/>
            <a:ext cx="6048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0206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0206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2932C8D-B957-1CF9-AF0A-C66A4B80B16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DFF5BE1-C27A-DAF6-539C-BE7CFB3D313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E2198C15-49FA-5DCF-088F-089A36BBE5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535E46A-E1CD-FBD0-4E50-E13A1941008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3770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1 - 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ADF482-1182-15C3-2090-EF4C2A8F787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5714932-B041-C268-D37A-89265A6401E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3D6BE398-80E2-C124-8939-1FA1DF0C1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37A6C1B-66EA-1CDD-A7FD-918E8033052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91808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2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C39B26E-924A-E04C-205D-CC553972AE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4D6E92B-62A5-89F1-C025-9AFA6FCB332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2BA0AE1-3EC1-6929-E965-9C60516B99D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8CFFAAD9-97A5-7898-E5FF-36F481EB93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09CB677-B3D7-E9DA-E119-15BB41993FA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98070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3 - Tex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C50F010-1A3E-13CC-A34C-23E50F7D9E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C224637-55EA-0423-7FB7-9D4C22E954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086BFC4-A13A-A77F-C95D-F0B63E9FC79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8436AE6-E5BF-2964-DF91-273801509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5AB8AB4-23B8-7C73-D92C-B7E5B59F98F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00509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4 - 1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C4C436A-97D3-3C1B-0C95-441F1DF2F9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2203B3C-B7BE-B5F0-A84C-BF4A2D307F8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D0C98DE-3A96-2DE1-E80F-30D10A98054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39872479-176B-250D-7009-2FACC846C8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8639FAC-9B20-0C41-1170-9E53E197BE9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7794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5 - 2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37E9F8B-5B93-F909-6599-53CAB2225C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8BB2193-E2EE-013C-3734-26FE2B6F28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94D6E453-33BB-3D1A-87F2-BF23E7DB064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25631BE9-7C06-22AD-145E-78B1BD5F79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4C81FBE-7963-2BF2-3D08-EB37DCED6F2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70408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6 - 3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4635BF5-054A-3811-41D1-1B20FDF97F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B09C184-344B-3A37-4BC9-5F46DC81EA5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23E53E-BC8E-B2D9-8857-89A24EB07F9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E99784FE-D6A8-9580-1007-194EF43C8A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9819FF9-0C48-6A68-6BD1-54B1244D681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81854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7 - 4xBulle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D49FC51-3DDE-4079-644A-F3FAEB0DC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F8C1C72-A585-7ED5-651B-B528B397081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3FAF429-6C3E-019C-0537-840220A5BF9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4" name="Footer Placeholder 2">
            <a:extLst>
              <a:ext uri="{FF2B5EF4-FFF2-40B4-BE49-F238E27FC236}">
                <a16:creationId xmlns:a16="http://schemas.microsoft.com/office/drawing/2014/main" id="{14C8B806-8FC3-E969-CBCA-FAFFE8971D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EE60DC6-6861-4B10-B2CD-E60D97CFE28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73615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.2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96536833-5211-82D7-BB50-42615CD1B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78403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8 - Numbered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bg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bg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bg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bg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 here</a:t>
            </a:r>
          </a:p>
          <a:p>
            <a:pPr lvl="1"/>
            <a:r>
              <a:rPr lang="en-US" dirty="0"/>
              <a:t>Text here</a:t>
            </a:r>
          </a:p>
          <a:p>
            <a:pPr lvl="2"/>
            <a:r>
              <a:rPr lang="en-US" dirty="0"/>
              <a:t>Text here</a:t>
            </a:r>
          </a:p>
          <a:p>
            <a:pPr lvl="3"/>
            <a:r>
              <a:rPr lang="en-US" dirty="0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dirty="0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F7ADEE1-F63C-492E-6243-826D5239E9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28DC97F-4D64-0DED-88CD-EE02622DD1A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6AADFB0-EF58-B66F-9E2F-35B8CE845DF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B5E01CE8-3A1A-97F6-CB42-2A7B7096CA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3CB7487-BD83-B400-F941-3715EED3ECC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34486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.9 - Titl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751E31D-7B4F-D8BB-1E48-D88EA581DC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FD536D-56F0-6B89-4E85-90A6E969D32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2A18FDE-17E4-A96B-C3EE-A77EEBA83E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A39C322E-4A8A-CA2E-DBCD-97DA4FDE15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21" name="Text Placeholder 42">
            <a:extLst>
              <a:ext uri="{FF2B5EF4-FFF2-40B4-BE49-F238E27FC236}">
                <a16:creationId xmlns:a16="http://schemas.microsoft.com/office/drawing/2014/main" id="{B3D3C671-29A5-6951-28E5-A58089FE5D4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062FB6E-4504-FEA1-6B62-6D6CDB0C297E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38614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1 - Cover N BlueGre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2" name="Title 4">
            <a:extLst>
              <a:ext uri="{FF2B5EF4-FFF2-40B4-BE49-F238E27FC236}">
                <a16:creationId xmlns:a16="http://schemas.microsoft.com/office/drawing/2014/main" id="{FCA7DC03-F552-0867-352F-D9703C6058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5DCB03-B7A1-6B00-BC51-6A2712B64A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59763D9-588F-2473-91CB-B8C347B72189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3FCDC52-0E62-A2F4-0387-BFC107C7F663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753EC447-D430-EA30-E1F1-75D2164321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23B30CB-3B0D-6B0D-CAD2-F3DB42C0D06B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02744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2 - Cover N PurpleBlu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901"/>
            <a:ext cx="5144400" cy="5144400"/>
          </a:xfrm>
          <a:prstGeom prst="rect">
            <a:avLst/>
          </a:prstGeom>
        </p:spPr>
      </p:pic>
      <p:sp>
        <p:nvSpPr>
          <p:cNvPr id="11" name="Title 4">
            <a:extLst>
              <a:ext uri="{FF2B5EF4-FFF2-40B4-BE49-F238E27FC236}">
                <a16:creationId xmlns:a16="http://schemas.microsoft.com/office/drawing/2014/main" id="{59E922F0-08F0-9919-8C26-CE716C3AE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DF29A45-EE41-3151-6F22-1274BFD4DD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77E65701-8704-DC44-7F06-7957F6D50DDE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B0CCF65E-F2C0-F179-6CEF-6926AE13A1AD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4148E0E7-D605-6CB3-E2A2-9F865D08BD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52FEEE1-227F-5289-5CC7-714EBE3E19C9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30434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3 - Cover N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3B531529-C0C1-501F-B90B-E578B26E0D98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40C94059-F7F6-293D-88B1-A0CCDDB75575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98343E1B-0BDB-6D7F-D5F6-35E72B8B2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75370D-AE3E-4E75-6FD5-2EE085BAD5A6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7408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.4 - Cover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44BBE444-2A25-873F-1D05-3ED543575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671" y="701061"/>
            <a:ext cx="3433727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CE0441B-626C-B0BA-7F19-6E6E187E9F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92671" y="2126098"/>
            <a:ext cx="3433727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E447E57-9E3B-2030-9902-A8BA6E7583E4}"/>
              </a:ext>
            </a:extLst>
          </p:cNvPr>
          <p:cNvSpPr txBox="1"/>
          <p:nvPr userDrawn="1"/>
        </p:nvSpPr>
        <p:spPr>
          <a:xfrm>
            <a:off x="5553597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B61C7B4D-5A69-FF1F-0F31-D16D75C7921B}"/>
              </a:ext>
            </a:extLst>
          </p:cNvPr>
          <p:cNvSpPr txBox="1">
            <a:spLocks/>
          </p:cNvSpPr>
          <p:nvPr userDrawn="1"/>
        </p:nvSpPr>
        <p:spPr>
          <a:xfrm>
            <a:off x="5292671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AD544843-BF44-8F0F-4D23-F80C60F60B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179" y="4858555"/>
            <a:ext cx="2592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050AC5B-86A1-B82E-33A3-29360CC407B2}"/>
              </a:ext>
            </a:extLst>
          </p:cNvPr>
          <p:cNvCxnSpPr>
            <a:cxnSpLocks/>
          </p:cNvCxnSpPr>
          <p:nvPr userDrawn="1"/>
        </p:nvCxnSpPr>
        <p:spPr>
          <a:xfrm>
            <a:off x="6278509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4114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1 - Cover O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4" name="Title 4">
            <a:extLst>
              <a:ext uri="{FF2B5EF4-FFF2-40B4-BE49-F238E27FC236}">
                <a16:creationId xmlns:a16="http://schemas.microsoft.com/office/drawing/2014/main" id="{2C6BDD68-E8AC-9D13-ED1D-D43FFC835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BF5CE8-2417-2D5D-75FE-27E0BE07F5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C8B88A2-C8A9-A342-E8B5-C91DF5E71FF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EC2290D-5934-145E-499C-1CB0349E5FA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BD471F30-B344-A63E-287D-45299C34768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B099940-048D-39BD-037F-46E30610F72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55280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2 - Cover O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60E8CE17-B2D0-B92F-1A9F-C72280B6E9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BEF90E0-A2AA-9B05-58FB-3D4109E95C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132D8A-9E85-B335-C2FD-9D2508FEAFC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5D1F556C-703D-0EB9-35BD-0A7DE6122BF2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F61D5928-67F7-A4E5-2767-E072B8F67A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C1D95AEB-E4CB-54E5-47AE-1837A3D69E9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44289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3 - Cover O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0759C7-94BC-8FC1-9A43-A40A4BE7AC1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83D4680A-11B6-A841-EC68-FFF11409500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AE485A1C-8A6A-5C51-5E3F-5685AAA904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916A922-B54C-8517-DD07-9374D7BDEB1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00950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.4 - Cover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84"/>
          <a:stretch/>
        </p:blipFill>
        <p:spPr>
          <a:xfrm>
            <a:off x="5126775" y="-4796"/>
            <a:ext cx="4017225" cy="51435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D94EDB0-D38F-0FE8-27C1-80BAE2455A1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FAF1A61-3518-0ABC-1BC0-5990D5EF88D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496FB4B1-7F2F-CF04-74B8-D3A7467B0E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9A58DAC-3B40-1B09-B235-713F491BEE3E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0401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071072-F0E5-488E-AF57-2FB6FBA697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3337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071072-F0E5-488E-AF57-2FB6FBA69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13AFDC9-7EA7-195A-AC21-49A03E74AF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1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 rtl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</p:spTree>
    <p:extLst>
      <p:ext uri="{BB962C8B-B14F-4D97-AF65-F5344CB8AC3E}">
        <p14:creationId xmlns:p14="http://schemas.microsoft.com/office/powerpoint/2010/main" val="2792976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1 - Cover K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01FC38E-29E5-B44A-FE96-F713B08050E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7AAAD9DC-C952-84F6-32BA-CE8084E916D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B603A7C0-7450-F57A-CF86-135B131E6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F01BA8E-8CEA-9FFE-48EB-DEA5A89BB56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6838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2 - Cover K BlueGreen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5C4391E8-E519-220E-82C7-E7E85659A4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3E219A7-8ADF-6CBF-872C-AEF07B645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D9CCAE72-315B-6DC4-6ED3-6C32104BB03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9F6B1C01-19BD-7D67-4E40-88818E2139B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7C973916-701B-92E4-FA4C-28A5746F5C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23F4759-EB92-F4D5-2BB3-75D64C3DFED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81587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3 - Cover K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23" name="Title 4">
            <a:extLst>
              <a:ext uri="{FF2B5EF4-FFF2-40B4-BE49-F238E27FC236}">
                <a16:creationId xmlns:a16="http://schemas.microsoft.com/office/drawing/2014/main" id="{FADBBE10-EF5A-37AA-E18F-F9B27AA61F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0DF69E35-608B-F57E-3615-F9FB9D11D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5AE80B1C-FD35-F288-8BFD-2F827D4C51A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7E72F-0CE2-D4D0-F696-BEA9F83EF5A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AB4C8BF7-D6EA-CCEB-F116-FF8F674A1D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F2EFAA-1CC4-492E-B8D1-6EF49CE7A8F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83901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.4 - Cover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4966626" y="0"/>
            <a:ext cx="417737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EB5A7CA1-8E09-1FEE-5143-08105708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GB" dirty="0"/>
              <a:t>Presentation</a:t>
            </a:r>
            <a:br>
              <a:rPr lang="en-GB" dirty="0"/>
            </a:br>
            <a:r>
              <a:rPr lang="en-GB" dirty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F6FE26B-E8FF-4ACF-48A7-542E2FB4B86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/>
              <a:t>Subtitle/Author</a:t>
            </a:r>
          </a:p>
        </p:txBody>
      </p:sp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685118FE-3A69-7878-D9BB-1A3313720C8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F609D8D-5CB0-9FB7-12C3-CB2F81E54A6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A6A581A3-9568-ADAA-C577-D08AD5F138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E08E003-2B92-ADF0-377B-757258E2C61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992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1 - Divider Blue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3AA9E6A-3B54-EBA8-25AB-52211D52F5E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FC82D3C-5CAB-DDEA-5BAD-0CE49311B44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F275CFF-10A6-01B8-606D-73D7A56422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6D07526-2E9D-2AAD-EE94-167EEE1536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E02048B-6D7A-8D73-C1C4-5B16111F0B3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855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2 - Divider BlueGreen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FBBDEB0-7315-4214-F9C8-48DBCC502C8E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976F6A6-5835-91B8-5B94-A197DCCF65D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146445DD-AC0A-C4BA-03CB-A346CF3E9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ED3C240-0F31-AD4B-E3D6-E9E2DFC4EB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D8D7E07-AE29-ED03-CA17-E767D394E16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43530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3 - Divider BlueGreen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C0FACD4-71CC-9E35-CDCC-22C146E52E9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23572DF-299F-8B6C-1E42-1A659F39324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F374EA10-DD32-7823-1E8C-8A5B6454CC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B4CCFE40-D40E-A7E0-E99F-0E9E3E7CA3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CB7C389-5A93-054C-1BDF-9FC91FFA20A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40887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4 - Divider PurpleBlu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0DABAD96-0284-76FF-D804-48E7FFCA0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6758511-3EE8-4852-763C-F4F1187FA97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486F512-1927-A0E0-A1C2-79941992D99A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8DEF3F3-5CAD-FC0C-F7DD-4A913E71BD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E790325F-8E1D-1D8F-9BC9-63324BDA40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FA58081-F274-C081-E890-EFC2A41D5FC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7683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5 - Divider Blue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513AFDC9-7EA7-195A-AC21-49A03E74AF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1CF4E5-14D0-7A0E-3B20-BC1F539D9B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02002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6 - Divider Pin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522A1BAB-7805-96E3-BA5B-3E8B26D8AA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C0B05D-F0F7-15F3-4C17-EED0899C7AF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9857B24-CF63-C1F9-6FBA-114618B4AAB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39CB5136-AC36-0B5E-A3A9-2D5B7B13CF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45165F11-ACDF-2F83-0960-B38B3A16DA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ED18778-E790-9812-B1F5-0E0F7858DCA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10544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93888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.7 - Divider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915CB6A6-17E7-3E33-E841-80BBD7036B3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49B4D71-50D7-0502-EF7E-5AAF38E8659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256B84B-A641-FF3B-04A5-7875DE216F3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DB5AF0F0-B002-CB3B-6A1E-945904E802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BFB53FB7-1753-80D0-CDCE-10664D914F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161471"/>
            <a:ext cx="8308800" cy="11084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629192D-9BFF-547E-D7E1-AE02B2E78B0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2083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1 - End BlueGreen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539141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2 - End BlueGreen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41499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3 - End BlueGreen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673729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4 - End PurpleBlu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9206573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5 - End Blue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537760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6 - End Pink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759909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7 - Divider Orange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800708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.8 -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0877361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972E40-A9C8-430E-9414-A5C60D7FEF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009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972E40-A9C8-430E-9414-A5C60D7FEF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B02A8A8-2DC6-BFA7-0597-B3A0E2C7AC2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pPr rtl="0"/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D8CED17-0DB9-2715-7150-DBF236275C4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 rtl="0"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A158F57-86DC-B003-644B-932675851596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396E0D0B-5511-E73A-4166-3C440265E9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</a:p>
        </p:txBody>
      </p:sp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62755F71-C8DF-BEE3-C54C-12DECC4F97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 rtl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327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8A36BB1-1CB4-70E4-B774-36E6FFADAD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dirty="0"/>
              <a:t>Divider pages </a:t>
            </a:r>
            <a:br>
              <a:rPr lang="en-US" dirty="0"/>
            </a:br>
            <a:r>
              <a:rPr lang="en-US" dirty="0"/>
              <a:t>or large quotes</a:t>
            </a:r>
          </a:p>
        </p:txBody>
      </p:sp>
    </p:spTree>
    <p:extLst>
      <p:ext uri="{BB962C8B-B14F-4D97-AF65-F5344CB8AC3E}">
        <p14:creationId xmlns:p14="http://schemas.microsoft.com/office/powerpoint/2010/main" val="14795224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3 O Blue green 2">
    <p:bg>
      <p:bgPr>
        <a:gradFill flip="none" rotWithShape="1">
          <a:gsLst>
            <a:gs pos="97000">
              <a:srgbClr val="0A2747"/>
            </a:gs>
            <a:gs pos="100000">
              <a:srgbClr val="09243D"/>
            </a:gs>
            <a:gs pos="73000">
              <a:srgbClr val="092443"/>
            </a:gs>
            <a:gs pos="1000">
              <a:srgbClr val="08223D"/>
            </a:gs>
          </a:gsLst>
          <a:lin ang="21594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F4BFAD4-AD3B-417B-9299-3B18C254C5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F4BFAD4-AD3B-417B-9299-3B18C254C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81A08D2-7BD6-6EF0-A8ED-2BED0268E547}"/>
              </a:ext>
            </a:extLst>
          </p:cNvPr>
          <p:cNvSpPr/>
          <p:nvPr userDrawn="1"/>
        </p:nvSpPr>
        <p:spPr>
          <a:xfrm>
            <a:off x="0" y="8692"/>
            <a:ext cx="3352078" cy="5139604"/>
          </a:xfrm>
          <a:prstGeom prst="rect">
            <a:avLst/>
          </a:prstGeom>
          <a:gradFill flip="none" rotWithShape="1">
            <a:gsLst>
              <a:gs pos="50000">
                <a:srgbClr val="0A1E3F"/>
              </a:gs>
              <a:gs pos="100000">
                <a:srgbClr val="0D162B"/>
              </a:gs>
              <a:gs pos="0">
                <a:srgbClr val="07274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>
              <a:spcAft>
                <a:spcPts val="300"/>
              </a:spcAft>
              <a:buSzPct val="100000"/>
            </a:pPr>
            <a:endParaRPr lang="en-US" sz="1200">
              <a:solidFill>
                <a:schemeClr val="tx2"/>
              </a:solidFill>
            </a:endParaRPr>
          </a:p>
        </p:txBody>
      </p:sp>
      <p:pic>
        <p:nvPicPr>
          <p:cNvPr id="9" name="Picture 8" descr="A close-up of a fish&#10;&#10;Description automatically generated with low confidence">
            <a:extLst>
              <a:ext uri="{FF2B5EF4-FFF2-40B4-BE49-F238E27FC236}">
                <a16:creationId xmlns:a16="http://schemas.microsoft.com/office/drawing/2014/main" id="{6FFC1613-2698-D450-533E-D5226E41A1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34431" y="0"/>
            <a:ext cx="5809569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2400" y="520718"/>
            <a:ext cx="1883462" cy="424162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184C4A7B-1AC5-72AD-EB05-210AB3D4C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F506F4-DF34-76FB-83D6-A513173F8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992705-E3A1-420B-69C5-44919D45057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pPr rtl="0"/>
            <a:r>
              <a:rPr lang="en-US" sz="800" noProof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3489F46-0E66-3662-9807-C4103C37498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 rtl="0"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24CC0F3-7292-1366-D942-BE5A3E145A42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B3465A8-86A3-4978-6D3F-E97750AC1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1278498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Subtitle-J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86B7B6-1DF9-3E29-E47B-C266A5A297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73695"/>
            <a:ext cx="3357110" cy="108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61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5C1BFCD-6D0E-9392-8AF1-AA5AC554C5C9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60ADFB8-3432-B307-E345-E3F3BD40FB23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tx2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E8B6B60-CBCC-891E-2583-9E8CD3C9950B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BFB85A3-5CE3-2927-6461-99DEDFB9D5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0414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 Placeholder 42">
            <a:extLst>
              <a:ext uri="{FF2B5EF4-FFF2-40B4-BE49-F238E27FC236}">
                <a16:creationId xmlns:a16="http://schemas.microsoft.com/office/drawing/2014/main" id="{BE7F6530-2B80-C2AA-C92D-861D7E8FD5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E33991A-B775-F150-1F53-A41B2C8F754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2865E3E-F273-E118-A756-E7553EE37BF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6CB285-4CBA-9E7E-51AA-4D36FE48627F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B4E65701-AF49-27F6-59BC-27ED19ECEC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1497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0DABAD96-0284-76FF-D804-48E7FFCA0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Divider pages </a:t>
            </a:r>
            <a:br>
              <a:rPr lang="en-US" noProof="0"/>
            </a:br>
            <a:r>
              <a:rPr lang="en-US" noProof="0"/>
              <a:t>or large quot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5D3A15-0FF3-A39B-9FE4-D700A76E306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3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500FE9F-6561-665F-A4F4-C9C4B4490CF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 dirty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E7AC149-8642-9FB6-B94B-6AE9EBA68E85}"/>
              </a:ext>
            </a:extLst>
          </p:cNvPr>
          <p:cNvCxnSpPr>
            <a:cxnSpLocks/>
          </p:cNvCxnSpPr>
          <p:nvPr userDrawn="1"/>
        </p:nvCxnSpPr>
        <p:spPr>
          <a:xfrm>
            <a:off x="1400627" y="4830552"/>
            <a:ext cx="0" cy="144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AAEAC5E7-CC2A-C92B-8A73-1CCA99C6D1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marL="0" algn="l" defTabSz="457200" rtl="0" eaLnBrk="1" latinLnBrk="0" hangingPunct="1">
              <a:defRPr lang="en-GB" sz="800" kern="120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634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31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5E79AF7C-06C9-DC7A-54BC-6099E5A11B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73695"/>
            <a:ext cx="3357110" cy="108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9620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6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35067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35067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2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07180" y="0"/>
            <a:ext cx="5036821" cy="51435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3506700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B42CA389-9702-4C9A-2F35-007FFE57A6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610" y="4873695"/>
            <a:ext cx="3357110" cy="108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marL="0" algn="l" defTabSz="457200" rtl="0" eaLnBrk="1" latinLnBrk="0" hangingPunct="1">
              <a:defRPr lang="en-GB" sz="800" kern="1200" smtClean="0">
                <a:solidFill>
                  <a:schemeClr val="tx2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defRPr>
            </a:lvl1pPr>
          </a:lstStyle>
          <a:p>
            <a:r>
              <a:rPr lang="en-US"/>
              <a:t>Intern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2070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60" imgH="360" progId="TCLayout.ActiveDocument.1">
                  <p:embed/>
                </p:oleObj>
              </mc:Choice>
              <mc:Fallback>
                <p:oleObj name="Diapositiva think-cell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537792"/>
            <a:ext cx="8227649" cy="301625"/>
          </a:xfrm>
        </p:spPr>
        <p:txBody>
          <a:bodyPr/>
          <a:lstStyle>
            <a:lvl1pPr marL="0" indent="0">
              <a:buNone/>
              <a:defRPr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95882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D257AD-7B4F-414A-B34D-917341D88B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BD4ECA1-6952-4FDA-801A-3BF8DB3029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BC58F76-730B-4859-A9DD-127CC84EA7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A6012C-6B6B-43D6-A72F-496205AEF36F}" type="datetimeFigureOut">
              <a:rPr lang="fi-FI" smtClean="0"/>
              <a:t>30.5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E9579D9-3974-4C92-9804-DB937D008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04610" y="4858555"/>
            <a:ext cx="2880000" cy="122400"/>
          </a:xfrm>
          <a:prstGeom prst="rect">
            <a:avLst/>
          </a:prstGeom>
        </p:spPr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ADCC45E3-8188-4C5D-855B-8BEA39B01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5C4CDA-E7A6-42A7-BA8F-1AA2D30F6FE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729533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Blue pur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9477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5 Cover K Oran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Background pattern&#10;&#10;Description automatically generated">
            <a:extLst>
              <a:ext uri="{FF2B5EF4-FFF2-40B4-BE49-F238E27FC236}">
                <a16:creationId xmlns:a16="http://schemas.microsoft.com/office/drawing/2014/main" id="{3751CAAF-D8C7-6C59-C74C-85B4A9C8DD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974" y="0"/>
            <a:ext cx="9144000" cy="5143500"/>
          </a:xfrm>
          <a:prstGeom prst="rect">
            <a:avLst/>
          </a:prstGeom>
        </p:spPr>
      </p:pic>
      <p:pic>
        <p:nvPicPr>
          <p:cNvPr id="24" name="Picture 23" descr="A close up of a colorful sphere&#10;&#10;Description automatically generated">
            <a:extLst>
              <a:ext uri="{FF2B5EF4-FFF2-40B4-BE49-F238E27FC236}">
                <a16:creationId xmlns:a16="http://schemas.microsoft.com/office/drawing/2014/main" id="{4BFB2DFE-1769-1A95-9DE8-C0E46B9CD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2495" y="685799"/>
            <a:ext cx="7146791" cy="44577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1293E6C-D8E9-41A1-1D19-A1AEF88A456D}"/>
              </a:ext>
            </a:extLst>
          </p:cNvPr>
          <p:cNvSpPr/>
          <p:nvPr userDrawn="1"/>
        </p:nvSpPr>
        <p:spPr>
          <a:xfrm>
            <a:off x="-1338" y="0"/>
            <a:ext cx="9160624" cy="5143499"/>
          </a:xfrm>
          <a:custGeom>
            <a:avLst/>
            <a:gdLst>
              <a:gd name="connsiteX0" fmla="*/ 0 w 9144001"/>
              <a:gd name="connsiteY0" fmla="*/ 0 h 5143499"/>
              <a:gd name="connsiteX1" fmla="*/ 9144001 w 9144001"/>
              <a:gd name="connsiteY1" fmla="*/ 0 h 5143499"/>
              <a:gd name="connsiteX2" fmla="*/ 9144001 w 9144001"/>
              <a:gd name="connsiteY2" fmla="*/ 5143499 h 5143499"/>
              <a:gd name="connsiteX3" fmla="*/ 0 w 9144001"/>
              <a:gd name="connsiteY3" fmla="*/ 5143499 h 5143499"/>
              <a:gd name="connsiteX4" fmla="*/ 0 w 9144001"/>
              <a:gd name="connsiteY4" fmla="*/ 0 h 5143499"/>
              <a:gd name="connsiteX0" fmla="*/ 0 w 9144002"/>
              <a:gd name="connsiteY0" fmla="*/ 0 h 5143499"/>
              <a:gd name="connsiteX1" fmla="*/ 9144001 w 9144002"/>
              <a:gd name="connsiteY1" fmla="*/ 0 h 5143499"/>
              <a:gd name="connsiteX2" fmla="*/ 5775851 w 9144002"/>
              <a:gd name="connsiteY2" fmla="*/ 2605053 h 5143499"/>
              <a:gd name="connsiteX3" fmla="*/ 9144001 w 9144002"/>
              <a:gd name="connsiteY3" fmla="*/ 5143499 h 5143499"/>
              <a:gd name="connsiteX4" fmla="*/ 0 w 9144002"/>
              <a:gd name="connsiteY4" fmla="*/ 5143499 h 5143499"/>
              <a:gd name="connsiteX5" fmla="*/ 0 w 9144002"/>
              <a:gd name="connsiteY5" fmla="*/ 0 h 5143499"/>
              <a:gd name="connsiteX0" fmla="*/ 0 w 9144003"/>
              <a:gd name="connsiteY0" fmla="*/ 0 h 5143499"/>
              <a:gd name="connsiteX1" fmla="*/ 9144001 w 9144003"/>
              <a:gd name="connsiteY1" fmla="*/ 0 h 5143499"/>
              <a:gd name="connsiteX2" fmla="*/ 5775851 w 9144003"/>
              <a:gd name="connsiteY2" fmla="*/ 2605053 h 5143499"/>
              <a:gd name="connsiteX3" fmla="*/ 9144001 w 9144003"/>
              <a:gd name="connsiteY3" fmla="*/ 5143499 h 5143499"/>
              <a:gd name="connsiteX4" fmla="*/ 0 w 9144003"/>
              <a:gd name="connsiteY4" fmla="*/ 5143499 h 5143499"/>
              <a:gd name="connsiteX5" fmla="*/ 0 w 9144003"/>
              <a:gd name="connsiteY5" fmla="*/ 0 h 5143499"/>
              <a:gd name="connsiteX0" fmla="*/ 0 w 9144001"/>
              <a:gd name="connsiteY0" fmla="*/ 0 h 5143499"/>
              <a:gd name="connsiteX1" fmla="*/ 9144001 w 9144001"/>
              <a:gd name="connsiteY1" fmla="*/ 0 h 5143499"/>
              <a:gd name="connsiteX2" fmla="*/ 5775851 w 9144001"/>
              <a:gd name="connsiteY2" fmla="*/ 2605053 h 5143499"/>
              <a:gd name="connsiteX3" fmla="*/ 9144001 w 9144001"/>
              <a:gd name="connsiteY3" fmla="*/ 5143499 h 5143499"/>
              <a:gd name="connsiteX4" fmla="*/ 0 w 9144001"/>
              <a:gd name="connsiteY4" fmla="*/ 5143499 h 5143499"/>
              <a:gd name="connsiteX5" fmla="*/ 0 w 9144001"/>
              <a:gd name="connsiteY5" fmla="*/ 0 h 5143499"/>
              <a:gd name="connsiteX0" fmla="*/ 0 w 9144001"/>
              <a:gd name="connsiteY0" fmla="*/ 0 h 5143499"/>
              <a:gd name="connsiteX1" fmla="*/ 9144001 w 9144001"/>
              <a:gd name="connsiteY1" fmla="*/ 0 h 5143499"/>
              <a:gd name="connsiteX2" fmla="*/ 6019253 w 9144001"/>
              <a:gd name="connsiteY2" fmla="*/ 2532691 h 5143499"/>
              <a:gd name="connsiteX3" fmla="*/ 9144001 w 9144001"/>
              <a:gd name="connsiteY3" fmla="*/ 5143499 h 5143499"/>
              <a:gd name="connsiteX4" fmla="*/ 0 w 9144001"/>
              <a:gd name="connsiteY4" fmla="*/ 5143499 h 5143499"/>
              <a:gd name="connsiteX5" fmla="*/ 0 w 9144001"/>
              <a:gd name="connsiteY5" fmla="*/ 0 h 5143499"/>
              <a:gd name="connsiteX0" fmla="*/ 0 w 9144001"/>
              <a:gd name="connsiteY0" fmla="*/ 0 h 5143499"/>
              <a:gd name="connsiteX1" fmla="*/ 9144001 w 9144001"/>
              <a:gd name="connsiteY1" fmla="*/ 0 h 5143499"/>
              <a:gd name="connsiteX2" fmla="*/ 9144001 w 9144001"/>
              <a:gd name="connsiteY2" fmla="*/ 5143499 h 5143499"/>
              <a:gd name="connsiteX3" fmla="*/ 0 w 9144001"/>
              <a:gd name="connsiteY3" fmla="*/ 5143499 h 5143499"/>
              <a:gd name="connsiteX4" fmla="*/ 0 w 9144001"/>
              <a:gd name="connsiteY4" fmla="*/ 0 h 5143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1" h="5143499">
                <a:moveTo>
                  <a:pt x="0" y="0"/>
                </a:moveTo>
                <a:lnTo>
                  <a:pt x="9144001" y="0"/>
                </a:lnTo>
                <a:lnTo>
                  <a:pt x="9144001" y="5143499"/>
                </a:lnTo>
                <a:lnTo>
                  <a:pt x="0" y="5143499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01037">
                  <a:alpha val="76890"/>
                </a:srgbClr>
              </a:gs>
              <a:gs pos="100000">
                <a:srgbClr val="001037">
                  <a:alpha val="16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DE" sz="12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9833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35.xml"/><Relationship Id="rId39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30.xml"/><Relationship Id="rId34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51.xml"/><Relationship Id="rId47" Type="http://schemas.openxmlformats.org/officeDocument/2006/relationships/slideLayout" Target="../slideLayouts/slideLayout56.xml"/><Relationship Id="rId50" Type="http://schemas.openxmlformats.org/officeDocument/2006/relationships/slideLayout" Target="../slideLayouts/slideLayout59.xml"/><Relationship Id="rId55" Type="http://schemas.openxmlformats.org/officeDocument/2006/relationships/slideLayout" Target="../slideLayouts/slideLayout64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41.xml"/><Relationship Id="rId37" Type="http://schemas.openxmlformats.org/officeDocument/2006/relationships/slideLayout" Target="../slideLayouts/slideLayout46.xml"/><Relationship Id="rId40" Type="http://schemas.openxmlformats.org/officeDocument/2006/relationships/slideLayout" Target="../slideLayouts/slideLayout49.xml"/><Relationship Id="rId45" Type="http://schemas.openxmlformats.org/officeDocument/2006/relationships/slideLayout" Target="../slideLayouts/slideLayout54.xml"/><Relationship Id="rId53" Type="http://schemas.openxmlformats.org/officeDocument/2006/relationships/slideLayout" Target="../slideLayouts/slideLayout62.xml"/><Relationship Id="rId58" Type="http://schemas.openxmlformats.org/officeDocument/2006/relationships/slideLayout" Target="../slideLayouts/slideLayout67.xml"/><Relationship Id="rId5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Relationship Id="rId30" Type="http://schemas.openxmlformats.org/officeDocument/2006/relationships/slideLayout" Target="../slideLayouts/slideLayout39.xml"/><Relationship Id="rId35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52.xml"/><Relationship Id="rId48" Type="http://schemas.openxmlformats.org/officeDocument/2006/relationships/slideLayout" Target="../slideLayouts/slideLayout57.xml"/><Relationship Id="rId56" Type="http://schemas.openxmlformats.org/officeDocument/2006/relationships/slideLayout" Target="../slideLayouts/slideLayout65.xml"/><Relationship Id="rId8" Type="http://schemas.openxmlformats.org/officeDocument/2006/relationships/slideLayout" Target="../slideLayouts/slideLayout17.xml"/><Relationship Id="rId51" Type="http://schemas.openxmlformats.org/officeDocument/2006/relationships/slideLayout" Target="../slideLayouts/slideLayout60.xml"/><Relationship Id="rId3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42.xml"/><Relationship Id="rId38" Type="http://schemas.openxmlformats.org/officeDocument/2006/relationships/slideLayout" Target="../slideLayouts/slideLayout47.xml"/><Relationship Id="rId46" Type="http://schemas.openxmlformats.org/officeDocument/2006/relationships/slideLayout" Target="../slideLayouts/slideLayout55.xml"/><Relationship Id="rId59" Type="http://schemas.openxmlformats.org/officeDocument/2006/relationships/theme" Target="../theme/theme2.xml"/><Relationship Id="rId20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50.xml"/><Relationship Id="rId54" Type="http://schemas.openxmlformats.org/officeDocument/2006/relationships/slideLayout" Target="../slideLayouts/slideLayout63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45.xml"/><Relationship Id="rId49" Type="http://schemas.openxmlformats.org/officeDocument/2006/relationships/slideLayout" Target="../slideLayouts/slideLayout58.xml"/><Relationship Id="rId57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40.xml"/><Relationship Id="rId44" Type="http://schemas.openxmlformats.org/officeDocument/2006/relationships/slideLayout" Target="../slideLayouts/slideLayout53.xml"/><Relationship Id="rId52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2362F8-3E48-45EA-B161-875E4F83AB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4300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2362F8-3E48-45EA-B161-875E4F83A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5158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8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1169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  <p:sldLayoutId id="2147483964" r:id="rId8"/>
    <p:sldLayoutId id="2147483965" r:id="rId9"/>
    <p:sldLayoutId id="2147483966" r:id="rId10"/>
    <p:sldLayoutId id="2147483967" r:id="rId11"/>
    <p:sldLayoutId id="2147483968" r:id="rId12"/>
    <p:sldLayoutId id="2147483969" r:id="rId13"/>
    <p:sldLayoutId id="2147483970" r:id="rId14"/>
    <p:sldLayoutId id="2147483971" r:id="rId15"/>
    <p:sldLayoutId id="2147483972" r:id="rId16"/>
    <p:sldLayoutId id="2147483973" r:id="rId17"/>
    <p:sldLayoutId id="2147483974" r:id="rId18"/>
    <p:sldLayoutId id="2147483975" r:id="rId19"/>
    <p:sldLayoutId id="2147483976" r:id="rId20"/>
    <p:sldLayoutId id="2147483977" r:id="rId21"/>
    <p:sldLayoutId id="2147483978" r:id="rId22"/>
    <p:sldLayoutId id="2147483979" r:id="rId23"/>
    <p:sldLayoutId id="2147483980" r:id="rId24"/>
    <p:sldLayoutId id="2147483981" r:id="rId25"/>
    <p:sldLayoutId id="2147483982" r:id="rId26"/>
    <p:sldLayoutId id="2147483983" r:id="rId27"/>
    <p:sldLayoutId id="2147483984" r:id="rId28"/>
    <p:sldLayoutId id="2147483985" r:id="rId29"/>
    <p:sldLayoutId id="2147483986" r:id="rId30"/>
    <p:sldLayoutId id="2147483987" r:id="rId31"/>
    <p:sldLayoutId id="2147483988" r:id="rId32"/>
    <p:sldLayoutId id="2147483989" r:id="rId33"/>
    <p:sldLayoutId id="2147483990" r:id="rId34"/>
    <p:sldLayoutId id="2147483991" r:id="rId35"/>
    <p:sldLayoutId id="2147483992" r:id="rId36"/>
    <p:sldLayoutId id="2147483993" r:id="rId37"/>
    <p:sldLayoutId id="2147483994" r:id="rId38"/>
    <p:sldLayoutId id="2147483995" r:id="rId39"/>
    <p:sldLayoutId id="2147483996" r:id="rId40"/>
    <p:sldLayoutId id="2147483997" r:id="rId41"/>
    <p:sldLayoutId id="2147483998" r:id="rId42"/>
    <p:sldLayoutId id="2147483999" r:id="rId43"/>
    <p:sldLayoutId id="2147484000" r:id="rId44"/>
    <p:sldLayoutId id="2147484001" r:id="rId45"/>
    <p:sldLayoutId id="2147484002" r:id="rId46"/>
    <p:sldLayoutId id="2147484003" r:id="rId47"/>
    <p:sldLayoutId id="2147484004" r:id="rId48"/>
    <p:sldLayoutId id="2147484005" r:id="rId49"/>
    <p:sldLayoutId id="2147484006" r:id="rId50"/>
    <p:sldLayoutId id="2147484007" r:id="rId51"/>
    <p:sldLayoutId id="2147484008" r:id="rId52"/>
    <p:sldLayoutId id="2147484009" r:id="rId53"/>
    <p:sldLayoutId id="2147484010" r:id="rId54"/>
    <p:sldLayoutId id="2147484011" r:id="rId55"/>
    <p:sldLayoutId id="2147484012" r:id="rId56"/>
    <p:sldLayoutId id="2147484013" r:id="rId57"/>
    <p:sldLayoutId id="2147484014" r:id="rId58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4.png"/><Relationship Id="rId18" Type="http://schemas.openxmlformats.org/officeDocument/2006/relationships/image" Target="../media/image89.svg"/><Relationship Id="rId26" Type="http://schemas.openxmlformats.org/officeDocument/2006/relationships/image" Target="../media/image97.jpeg"/><Relationship Id="rId21" Type="http://schemas.openxmlformats.org/officeDocument/2006/relationships/image" Target="../media/image92.png"/><Relationship Id="rId34" Type="http://schemas.openxmlformats.org/officeDocument/2006/relationships/image" Target="../media/image105.png"/><Relationship Id="rId7" Type="http://schemas.openxmlformats.org/officeDocument/2006/relationships/image" Target="../media/image78.png"/><Relationship Id="rId12" Type="http://schemas.openxmlformats.org/officeDocument/2006/relationships/image" Target="../media/image83.svg"/><Relationship Id="rId17" Type="http://schemas.openxmlformats.org/officeDocument/2006/relationships/image" Target="../media/image88.png"/><Relationship Id="rId25" Type="http://schemas.openxmlformats.org/officeDocument/2006/relationships/image" Target="../media/image96.jpeg"/><Relationship Id="rId33" Type="http://schemas.openxmlformats.org/officeDocument/2006/relationships/image" Target="../media/image104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87.svg"/><Relationship Id="rId20" Type="http://schemas.openxmlformats.org/officeDocument/2006/relationships/image" Target="../media/image91.svg"/><Relationship Id="rId29" Type="http://schemas.openxmlformats.org/officeDocument/2006/relationships/image" Target="../media/image10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24" Type="http://schemas.openxmlformats.org/officeDocument/2006/relationships/image" Target="../media/image95.jpeg"/><Relationship Id="rId32" Type="http://schemas.openxmlformats.org/officeDocument/2006/relationships/image" Target="../media/image103.png"/><Relationship Id="rId37" Type="http://schemas.openxmlformats.org/officeDocument/2006/relationships/image" Target="../media/image108.png"/><Relationship Id="rId5" Type="http://schemas.openxmlformats.org/officeDocument/2006/relationships/image" Target="../media/image76.png"/><Relationship Id="rId15" Type="http://schemas.openxmlformats.org/officeDocument/2006/relationships/image" Target="../media/image86.png"/><Relationship Id="rId23" Type="http://schemas.openxmlformats.org/officeDocument/2006/relationships/image" Target="../media/image94.png"/><Relationship Id="rId28" Type="http://schemas.openxmlformats.org/officeDocument/2006/relationships/image" Target="../media/image99.png"/><Relationship Id="rId36" Type="http://schemas.openxmlformats.org/officeDocument/2006/relationships/image" Target="../media/image107.png"/><Relationship Id="rId10" Type="http://schemas.openxmlformats.org/officeDocument/2006/relationships/image" Target="../media/image81.svg"/><Relationship Id="rId19" Type="http://schemas.openxmlformats.org/officeDocument/2006/relationships/image" Target="../media/image90.png"/><Relationship Id="rId31" Type="http://schemas.openxmlformats.org/officeDocument/2006/relationships/image" Target="../media/image102.jpeg"/><Relationship Id="rId4" Type="http://schemas.openxmlformats.org/officeDocument/2006/relationships/image" Target="../media/image75.png"/><Relationship Id="rId9" Type="http://schemas.openxmlformats.org/officeDocument/2006/relationships/image" Target="../media/image80.png"/><Relationship Id="rId14" Type="http://schemas.openxmlformats.org/officeDocument/2006/relationships/image" Target="../media/image85.svg"/><Relationship Id="rId22" Type="http://schemas.openxmlformats.org/officeDocument/2006/relationships/image" Target="../media/image93.svg"/><Relationship Id="rId27" Type="http://schemas.openxmlformats.org/officeDocument/2006/relationships/image" Target="../media/image98.png"/><Relationship Id="rId30" Type="http://schemas.openxmlformats.org/officeDocument/2006/relationships/image" Target="../media/image101.png"/><Relationship Id="rId35" Type="http://schemas.openxmlformats.org/officeDocument/2006/relationships/image" Target="../media/image106.png"/><Relationship Id="rId8" Type="http://schemas.openxmlformats.org/officeDocument/2006/relationships/image" Target="../media/image79.svg"/><Relationship Id="rId3" Type="http://schemas.openxmlformats.org/officeDocument/2006/relationships/image" Target="../media/image7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1.jpeg"/><Relationship Id="rId4" Type="http://schemas.openxmlformats.org/officeDocument/2006/relationships/image" Target="../media/image11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g"/><Relationship Id="rId7" Type="http://schemas.openxmlformats.org/officeDocument/2006/relationships/image" Target="../media/image114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3.png"/><Relationship Id="rId5" Type="http://schemas.openxmlformats.org/officeDocument/2006/relationships/image" Target="../media/image93.svg"/><Relationship Id="rId4" Type="http://schemas.openxmlformats.org/officeDocument/2006/relationships/image" Target="../media/image9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nkedin.com/in/lorena-gomez-gaviria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3.png"/><Relationship Id="rId18" Type="http://schemas.openxmlformats.org/officeDocument/2006/relationships/image" Target="../media/image48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17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6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3.png"/><Relationship Id="rId18" Type="http://schemas.openxmlformats.org/officeDocument/2006/relationships/image" Target="../media/image48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17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6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3.png"/><Relationship Id="rId18" Type="http://schemas.openxmlformats.org/officeDocument/2006/relationships/image" Target="../media/image48.svg"/><Relationship Id="rId3" Type="http://schemas.openxmlformats.org/officeDocument/2006/relationships/image" Target="../media/image33.png"/><Relationship Id="rId21" Type="http://schemas.openxmlformats.org/officeDocument/2006/relationships/image" Target="../media/image51.jpeg"/><Relationship Id="rId7" Type="http://schemas.openxmlformats.org/officeDocument/2006/relationships/image" Target="../media/image37.png"/><Relationship Id="rId12" Type="http://schemas.openxmlformats.org/officeDocument/2006/relationships/image" Target="../media/image42.svg"/><Relationship Id="rId17" Type="http://schemas.openxmlformats.org/officeDocument/2006/relationships/image" Target="../media/image47.png"/><Relationship Id="rId25" Type="http://schemas.openxmlformats.org/officeDocument/2006/relationships/image" Target="../media/image55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6.svg"/><Relationship Id="rId20" Type="http://schemas.openxmlformats.org/officeDocument/2006/relationships/image" Target="../media/image50.gi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24" Type="http://schemas.openxmlformats.org/officeDocument/2006/relationships/image" Target="../media/image54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23" Type="http://schemas.openxmlformats.org/officeDocument/2006/relationships/image" Target="../media/image53.png"/><Relationship Id="rId10" Type="http://schemas.openxmlformats.org/officeDocument/2006/relationships/image" Target="../media/image40.svg"/><Relationship Id="rId19" Type="http://schemas.openxmlformats.org/officeDocument/2006/relationships/image" Target="../media/image49.jpe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svg"/><Relationship Id="rId22" Type="http://schemas.openxmlformats.org/officeDocument/2006/relationships/image" Target="../media/image5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13" Type="http://schemas.openxmlformats.org/officeDocument/2006/relationships/image" Target="../media/image65.png"/><Relationship Id="rId3" Type="http://schemas.openxmlformats.org/officeDocument/2006/relationships/image" Target="../media/image33.png"/><Relationship Id="rId7" Type="http://schemas.openxmlformats.org/officeDocument/2006/relationships/image" Target="../media/image59.png"/><Relationship Id="rId12" Type="http://schemas.openxmlformats.org/officeDocument/2006/relationships/image" Target="../media/image64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8.svg"/><Relationship Id="rId11" Type="http://schemas.openxmlformats.org/officeDocument/2006/relationships/image" Target="../media/image63.png"/><Relationship Id="rId5" Type="http://schemas.openxmlformats.org/officeDocument/2006/relationships/image" Target="../media/image57.png"/><Relationship Id="rId15" Type="http://schemas.openxmlformats.org/officeDocument/2006/relationships/image" Target="../media/image67.png"/><Relationship Id="rId10" Type="http://schemas.openxmlformats.org/officeDocument/2006/relationships/image" Target="../media/image62.sv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69133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5DA536-D634-F866-6703-6AA0C3153DAF}"/>
              </a:ext>
            </a:extLst>
          </p:cNvPr>
          <p:cNvSpPr txBox="1">
            <a:spLocks/>
          </p:cNvSpPr>
          <p:nvPr/>
        </p:nvSpPr>
        <p:spPr>
          <a:xfrm>
            <a:off x="349867" y="3382999"/>
            <a:ext cx="8308800" cy="176050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80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Headline" panose="020B0504020202020204" pitchFamily="34" charset="0"/>
              </a:rPr>
              <a:t>University 4.0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u="none" strike="noStrike" kern="1200" normalizeH="0" baseline="0" noProof="0" dirty="0">
                <a:ln w="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Nokia Pure Headline" panose="020B0504020202020204" pitchFamily="34" charset="0"/>
              </a:rPr>
              <a:t>The Potential of 5G on the University Campus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u="none" strike="noStrike" kern="1200" normalizeH="0" baseline="0" noProof="0" dirty="0">
                <a:ln w="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Nokia Pure Headline" panose="020B0504020202020204" pitchFamily="34" charset="0"/>
              </a:rPr>
              <a:t>Lorena Gomez Gaviria </a:t>
            </a:r>
            <a:endParaRPr kumimoji="0" lang="en-US" sz="2800" u="none" strike="noStrike" kern="1200" normalizeH="0" baseline="0" noProof="0" dirty="0">
              <a:ln w="0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Nokia Pure Headline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32781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Generated from prompt">
            <a:extLst>
              <a:ext uri="{FF2B5EF4-FFF2-40B4-BE49-F238E27FC236}">
                <a16:creationId xmlns:a16="http://schemas.microsoft.com/office/drawing/2014/main" id="{0D3CD3BE-4898-3AB3-003C-A7D8033626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22" r="50000" b="17928"/>
          <a:stretch/>
        </p:blipFill>
        <p:spPr bwMode="auto">
          <a:xfrm>
            <a:off x="20" y="10"/>
            <a:ext cx="4571980" cy="5143490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Generated from prompt">
            <a:extLst>
              <a:ext uri="{FF2B5EF4-FFF2-40B4-BE49-F238E27FC236}">
                <a16:creationId xmlns:a16="http://schemas.microsoft.com/office/drawing/2014/main" id="{EC16A4AB-CEEE-4648-9AB1-9546CD701C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25822" b="17928"/>
          <a:stretch/>
        </p:blipFill>
        <p:spPr bwMode="auto">
          <a:xfrm>
            <a:off x="4572000" y="10"/>
            <a:ext cx="4572000" cy="5143490"/>
          </a:xfrm>
          <a:prstGeom prst="rect">
            <a:avLst/>
          </a:prstGeom>
          <a:solidFill>
            <a:srgbClr val="FFFFFF"/>
          </a:solidFill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0559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 descr="Kuva, joka sisältää kohteen kartta&#10;&#10;Kuvaus luotu automaattisesti">
            <a:extLst>
              <a:ext uri="{FF2B5EF4-FFF2-40B4-BE49-F238E27FC236}">
                <a16:creationId xmlns:a16="http://schemas.microsoft.com/office/drawing/2014/main" id="{918F5C09-B210-4D6F-841A-81F37963D7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Suorakulmio 9">
            <a:extLst>
              <a:ext uri="{FF2B5EF4-FFF2-40B4-BE49-F238E27FC236}">
                <a16:creationId xmlns:a16="http://schemas.microsoft.com/office/drawing/2014/main" id="{A71AF187-B164-46F1-98DB-08F24F8194EB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A44BFF">
                  <a:shade val="30000"/>
                  <a:satMod val="115000"/>
                  <a:lumMod val="59000"/>
                  <a:alpha val="54000"/>
                </a:srgbClr>
              </a:gs>
              <a:gs pos="56000">
                <a:srgbClr val="A44BFF">
                  <a:shade val="67500"/>
                  <a:satMod val="115000"/>
                  <a:alpha val="80000"/>
                </a:srgbClr>
              </a:gs>
              <a:gs pos="100000">
                <a:srgbClr val="A44BFF">
                  <a:shade val="100000"/>
                  <a:satMod val="115000"/>
                </a:srgb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28" name="Tekstiruutu 27">
            <a:extLst>
              <a:ext uri="{FF2B5EF4-FFF2-40B4-BE49-F238E27FC236}">
                <a16:creationId xmlns:a16="http://schemas.microsoft.com/office/drawing/2014/main" id="{F0179A38-53FB-4377-B148-8C818B277963}"/>
              </a:ext>
            </a:extLst>
          </p:cNvPr>
          <p:cNvSpPr txBox="1"/>
          <p:nvPr/>
        </p:nvSpPr>
        <p:spPr>
          <a:xfrm>
            <a:off x="6598919" y="1679047"/>
            <a:ext cx="212643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Black" panose="020B0A02040204020203" pitchFamily="34" charset="0"/>
                <a:ea typeface="Segoe UI Black" panose="020B0A02040204020203" pitchFamily="34" charset="0"/>
                <a:cs typeface="Segoe UI Light" panose="020B0502040204020203" pitchFamily="34" charset="0"/>
              </a:rPr>
              <a:t>Finland</a:t>
            </a: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 panose="020B0502040204020203" pitchFamily="34" charset="0"/>
              <a:ea typeface="Segoe UI Black" panose="020B0A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4" name="Kuva 23">
            <a:extLst>
              <a:ext uri="{FF2B5EF4-FFF2-40B4-BE49-F238E27FC236}">
                <a16:creationId xmlns:a16="http://schemas.microsoft.com/office/drawing/2014/main" id="{F9B58A6B-8231-4A1C-B664-F1084C7EB6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573" y="6651771"/>
            <a:ext cx="190488" cy="37472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88EC12-349D-CBAC-4623-6BCFBC3FAD74}"/>
              </a:ext>
            </a:extLst>
          </p:cNvPr>
          <p:cNvSpPr txBox="1">
            <a:spLocks/>
          </p:cNvSpPr>
          <p:nvPr/>
        </p:nvSpPr>
        <p:spPr>
          <a:xfrm>
            <a:off x="426328" y="955250"/>
            <a:ext cx="4807374" cy="5448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5G University </a:t>
            </a:r>
            <a:r>
              <a:rPr kumimoji="0" lang="en-AU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Test Network Finland</a:t>
            </a:r>
            <a:endParaRPr kumimoji="0" lang="en-AU" sz="6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D48CEFE-2F18-389F-EA93-179912197811}"/>
              </a:ext>
            </a:extLst>
          </p:cNvPr>
          <p:cNvGrpSpPr/>
          <p:nvPr/>
        </p:nvGrpSpPr>
        <p:grpSpPr>
          <a:xfrm>
            <a:off x="6137291" y="1053503"/>
            <a:ext cx="1051559" cy="893250"/>
            <a:chOff x="6291201" y="1380089"/>
            <a:chExt cx="468411" cy="468411"/>
          </a:xfrm>
        </p:grpSpPr>
        <p:pic>
          <p:nvPicPr>
            <p:cNvPr id="18" name="Kuva 17" descr="Lippu tasaisella täytöllä">
              <a:extLst>
                <a:ext uri="{FF2B5EF4-FFF2-40B4-BE49-F238E27FC236}">
                  <a16:creationId xmlns:a16="http://schemas.microsoft.com/office/drawing/2014/main" id="{80EE5610-E2D2-4AB7-B484-F401B6A50E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291201" y="1380089"/>
              <a:ext cx="468411" cy="468411"/>
            </a:xfrm>
            <a:prstGeom prst="rect">
              <a:avLst/>
            </a:prstGeom>
          </p:spPr>
        </p:pic>
        <p:sp>
          <p:nvSpPr>
            <p:cNvPr id="19" name="Ellipsi 18">
              <a:extLst>
                <a:ext uri="{FF2B5EF4-FFF2-40B4-BE49-F238E27FC236}">
                  <a16:creationId xmlns:a16="http://schemas.microsoft.com/office/drawing/2014/main" id="{C7DC37F9-0ED2-4A2D-9BA5-78F7E4DA3A7F}"/>
                </a:ext>
              </a:extLst>
            </p:cNvPr>
            <p:cNvSpPr/>
            <p:nvPr/>
          </p:nvSpPr>
          <p:spPr>
            <a:xfrm>
              <a:off x="6340808" y="1779753"/>
              <a:ext cx="131885" cy="48835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A0DBC52-6565-785B-0361-93888D49E777}"/>
                </a:ext>
              </a:extLst>
            </p:cNvPr>
            <p:cNvCxnSpPr>
              <a:cxnSpLocks/>
            </p:cNvCxnSpPr>
            <p:nvPr/>
          </p:nvCxnSpPr>
          <p:spPr>
            <a:xfrm>
              <a:off x="6496831" y="1410185"/>
              <a:ext cx="0" cy="169902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82E9A32-4123-4BC2-6A89-69EA63C464C2}"/>
                </a:ext>
              </a:extLst>
            </p:cNvPr>
            <p:cNvCxnSpPr>
              <a:cxnSpLocks/>
            </p:cNvCxnSpPr>
            <p:nvPr/>
          </p:nvCxnSpPr>
          <p:spPr>
            <a:xfrm>
              <a:off x="6435799" y="1500128"/>
              <a:ext cx="224504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7341385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776EF709-DA3A-E101-318D-E451F81B40F5}"/>
              </a:ext>
            </a:extLst>
          </p:cNvPr>
          <p:cNvSpPr/>
          <p:nvPr/>
        </p:nvSpPr>
        <p:spPr>
          <a:xfrm>
            <a:off x="302500" y="247148"/>
            <a:ext cx="8612899" cy="3638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5G University Test Network Finland: A Collaborative Model for Innovation and Impac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CDB3AB4-5FC2-ED3A-A290-32202DB63356}"/>
              </a:ext>
            </a:extLst>
          </p:cNvPr>
          <p:cNvSpPr/>
          <p:nvPr/>
        </p:nvSpPr>
        <p:spPr>
          <a:xfrm>
            <a:off x="706781" y="4691266"/>
            <a:ext cx="7692280" cy="3918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7D33F2">
                    <a:lumMod val="50000"/>
                  </a:srgbClr>
                </a:solidFill>
                <a:effectLst/>
                <a:uLnTx/>
                <a:uFillTx/>
                <a:latin typeface="Nokia Pure Headline Ultra Light" panose="020B0204020202020204" pitchFamily="34" charset="0"/>
                <a:ea typeface="+mn-ea"/>
                <a:cs typeface="+mn-cs"/>
              </a:rPr>
              <a:t>Platform for I.40 R+D+I+E </a:t>
            </a:r>
          </a:p>
        </p:txBody>
      </p: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C079044A-289C-65DE-ABFF-84B11FF3F9C1}"/>
              </a:ext>
            </a:extLst>
          </p:cNvPr>
          <p:cNvGrpSpPr/>
          <p:nvPr/>
        </p:nvGrpSpPr>
        <p:grpSpPr>
          <a:xfrm>
            <a:off x="146196" y="1611851"/>
            <a:ext cx="1552672" cy="2506948"/>
            <a:chOff x="146196" y="1611851"/>
            <a:chExt cx="1552672" cy="2506948"/>
          </a:xfrm>
        </p:grpSpPr>
        <p:pic>
          <p:nvPicPr>
            <p:cNvPr id="2" name="Picture 1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8DF1699A-DEBA-5703-62DC-7B38A70945A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4259" y="1611851"/>
              <a:ext cx="504609" cy="504609"/>
            </a:xfrm>
            <a:prstGeom prst="rect">
              <a:avLst/>
            </a:prstGeom>
          </p:spPr>
        </p:pic>
        <p:pic>
          <p:nvPicPr>
            <p:cNvPr id="3" name="Picture 2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1620757E-78DA-0307-6A3B-4B1AE9FEBA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117" y="2913605"/>
              <a:ext cx="504609" cy="504609"/>
            </a:xfrm>
            <a:prstGeom prst="rect">
              <a:avLst/>
            </a:prstGeom>
          </p:spPr>
        </p:pic>
        <p:pic>
          <p:nvPicPr>
            <p:cNvPr id="5" name="Picture 4" descr="A picture containing logo&#10;&#10;Description automatically generated">
              <a:extLst>
                <a:ext uri="{FF2B5EF4-FFF2-40B4-BE49-F238E27FC236}">
                  <a16:creationId xmlns:a16="http://schemas.microsoft.com/office/drawing/2014/main" id="{2C6EE978-0A6A-81EF-6668-76717E01F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283" y="2234930"/>
              <a:ext cx="504609" cy="504609"/>
            </a:xfrm>
            <a:prstGeom prst="rect">
              <a:avLst/>
            </a:prstGeom>
          </p:spPr>
        </p:pic>
        <p:pic>
          <p:nvPicPr>
            <p:cNvPr id="11" name="Picture 10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B7612C4E-3702-3296-178C-357247F7D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196" y="3614190"/>
              <a:ext cx="504609" cy="504609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AE37B09-5F50-6E65-6356-8E0E5B4BAB42}"/>
              </a:ext>
            </a:extLst>
          </p:cNvPr>
          <p:cNvGrpSpPr/>
          <p:nvPr/>
        </p:nvGrpSpPr>
        <p:grpSpPr>
          <a:xfrm>
            <a:off x="667645" y="890153"/>
            <a:ext cx="7859512" cy="7611413"/>
            <a:chOff x="667645" y="890153"/>
            <a:chExt cx="7859512" cy="7611413"/>
          </a:xfrm>
        </p:grpSpPr>
        <p:sp>
          <p:nvSpPr>
            <p:cNvPr id="6" name="Partial Circle 6">
              <a:extLst>
                <a:ext uri="{FF2B5EF4-FFF2-40B4-BE49-F238E27FC236}">
                  <a16:creationId xmlns:a16="http://schemas.microsoft.com/office/drawing/2014/main" id="{5CCE4CE8-B2C0-041C-0A29-7ACFB71D479B}"/>
                </a:ext>
              </a:extLst>
            </p:cNvPr>
            <p:cNvSpPr/>
            <p:nvPr/>
          </p:nvSpPr>
          <p:spPr>
            <a:xfrm rot="10800000">
              <a:off x="710983" y="890153"/>
              <a:ext cx="7698249" cy="7611413"/>
            </a:xfrm>
            <a:prstGeom prst="pie">
              <a:avLst>
                <a:gd name="adj1" fmla="val 21582137"/>
                <a:gd name="adj2" fmla="val 10812602"/>
              </a:avLst>
            </a:prstGeom>
            <a:solidFill>
              <a:schemeClr val="accent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1F155A17-9FF7-EC0A-9C47-339F892CE0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45735" y="890153"/>
              <a:ext cx="14372" cy="1324745"/>
            </a:xfrm>
            <a:prstGeom prst="line">
              <a:avLst/>
            </a:pr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</p:cxnSp>
        <p:pic>
          <p:nvPicPr>
            <p:cNvPr id="8" name="Graphic 7" descr="Factory outline">
              <a:extLst>
                <a:ext uri="{FF2B5EF4-FFF2-40B4-BE49-F238E27FC236}">
                  <a16:creationId xmlns:a16="http://schemas.microsoft.com/office/drawing/2014/main" id="{8D713300-4E06-849D-9D22-355B1724F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434853" y="1819572"/>
              <a:ext cx="597330" cy="59733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2BBBB23-7ADB-B904-4A41-EB4F57BA7F27}"/>
                </a:ext>
              </a:extLst>
            </p:cNvPr>
            <p:cNvSpPr txBox="1"/>
            <p:nvPr/>
          </p:nvSpPr>
          <p:spPr>
            <a:xfrm>
              <a:off x="1817961" y="2307609"/>
              <a:ext cx="1066800" cy="312007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Agriculture</a:t>
              </a:r>
            </a:p>
          </p:txBody>
        </p:sp>
        <p:pic>
          <p:nvPicPr>
            <p:cNvPr id="13" name="Graphic 12" descr="Corn outline">
              <a:extLst>
                <a:ext uri="{FF2B5EF4-FFF2-40B4-BE49-F238E27FC236}">
                  <a16:creationId xmlns:a16="http://schemas.microsoft.com/office/drawing/2014/main" id="{FE280565-8725-139B-8516-491F7320F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104367" y="1881411"/>
              <a:ext cx="470195" cy="470195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231343F-397D-A987-F34B-A5B10B1D4816}"/>
                </a:ext>
              </a:extLst>
            </p:cNvPr>
            <p:cNvSpPr txBox="1"/>
            <p:nvPr/>
          </p:nvSpPr>
          <p:spPr>
            <a:xfrm>
              <a:off x="3263502" y="1771326"/>
              <a:ext cx="983285" cy="265093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Healthcare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027B152-47E6-706B-2F52-ECEFDE790A19}"/>
                </a:ext>
              </a:extLst>
            </p:cNvPr>
            <p:cNvGrpSpPr/>
            <p:nvPr/>
          </p:nvGrpSpPr>
          <p:grpSpPr>
            <a:xfrm>
              <a:off x="980032" y="2838158"/>
              <a:ext cx="1066800" cy="962705"/>
              <a:chOff x="4008797" y="2577732"/>
              <a:chExt cx="1422400" cy="1283607"/>
            </a:xfrm>
          </p:grpSpPr>
          <p:sp>
            <p:nvSpPr>
              <p:cNvPr id="484" name="TextBox 483">
                <a:extLst>
                  <a:ext uri="{FF2B5EF4-FFF2-40B4-BE49-F238E27FC236}">
                    <a16:creationId xmlns:a16="http://schemas.microsoft.com/office/drawing/2014/main" id="{792FE074-11DA-3E24-2345-B9D05EE62F04}"/>
                  </a:ext>
                </a:extLst>
              </p:cNvPr>
              <p:cNvSpPr txBox="1"/>
              <p:nvPr/>
            </p:nvSpPr>
            <p:spPr>
              <a:xfrm>
                <a:off x="4008797" y="2946939"/>
                <a:ext cx="1422400" cy="914400"/>
              </a:xfrm>
              <a:prstGeom prst="rect">
                <a:avLst/>
              </a:prstGeom>
              <a:noFill/>
              <a:ln cap="rnd">
                <a:noFill/>
                <a:prstDash val="sysDot"/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124191">
                      <a:lumMod val="100000"/>
                    </a:srgbClr>
                  </a:buClr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r>
                  <a:rPr kumimoji="0" lang="en-US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+mn-cs"/>
                  </a:rPr>
                  <a:t>Sustainability</a:t>
                </a:r>
              </a:p>
            </p:txBody>
          </p:sp>
          <p:pic>
            <p:nvPicPr>
              <p:cNvPr id="485" name="Graphic 484" descr="Agriculture outline">
                <a:extLst>
                  <a:ext uri="{FF2B5EF4-FFF2-40B4-BE49-F238E27FC236}">
                    <a16:creationId xmlns:a16="http://schemas.microsoft.com/office/drawing/2014/main" id="{09EAEC2B-4CFB-9B4F-0F18-B86BF26FFD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4415245" y="2577732"/>
                <a:ext cx="555171" cy="555171"/>
              </a:xfrm>
              <a:prstGeom prst="rect">
                <a:avLst/>
              </a:prstGeom>
            </p:spPr>
          </p:pic>
          <p:pic>
            <p:nvPicPr>
              <p:cNvPr id="486" name="Graphic 485" descr="Thermometer outline">
                <a:extLst>
                  <a:ext uri="{FF2B5EF4-FFF2-40B4-BE49-F238E27FC236}">
                    <a16:creationId xmlns:a16="http://schemas.microsoft.com/office/drawing/2014/main" id="{19499B97-C353-17C3-10D9-4879B8D909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4852851" y="2616926"/>
                <a:ext cx="400593" cy="400593"/>
              </a:xfrm>
              <a:prstGeom prst="rect">
                <a:avLst/>
              </a:prstGeom>
            </p:spPr>
          </p:pic>
        </p:grpSp>
        <p:sp>
          <p:nvSpPr>
            <p:cNvPr id="452" name="TextBox 451">
              <a:extLst>
                <a:ext uri="{FF2B5EF4-FFF2-40B4-BE49-F238E27FC236}">
                  <a16:creationId xmlns:a16="http://schemas.microsoft.com/office/drawing/2014/main" id="{AA563854-2DE3-EB96-9504-ED9574A3827F}"/>
                </a:ext>
              </a:extLst>
            </p:cNvPr>
            <p:cNvSpPr txBox="1"/>
            <p:nvPr/>
          </p:nvSpPr>
          <p:spPr>
            <a:xfrm>
              <a:off x="4811441" y="1751088"/>
              <a:ext cx="977441" cy="278418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Construction</a:t>
              </a:r>
            </a:p>
          </p:txBody>
        </p:sp>
        <p:cxnSp>
          <p:nvCxnSpPr>
            <p:cNvPr id="453" name="Straight Connector 452">
              <a:extLst>
                <a:ext uri="{FF2B5EF4-FFF2-40B4-BE49-F238E27FC236}">
                  <a16:creationId xmlns:a16="http://schemas.microsoft.com/office/drawing/2014/main" id="{18378C4E-B123-A327-800C-F844C4C0DF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49028" y="1343879"/>
              <a:ext cx="614274" cy="1109377"/>
            </a:xfrm>
            <a:prstGeom prst="line">
              <a:avLst/>
            </a:pr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</p:cxnSp>
        <p:cxnSp>
          <p:nvCxnSpPr>
            <p:cNvPr id="454" name="Straight Connector 453">
              <a:extLst>
                <a:ext uri="{FF2B5EF4-FFF2-40B4-BE49-F238E27FC236}">
                  <a16:creationId xmlns:a16="http://schemas.microsoft.com/office/drawing/2014/main" id="{2393C10D-99EA-B001-5E57-0AA7C56A57D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670981" y="1413893"/>
              <a:ext cx="623347" cy="1049591"/>
            </a:xfrm>
            <a:prstGeom prst="line">
              <a:avLst/>
            </a:pr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</p:cxnSp>
        <p:cxnSp>
          <p:nvCxnSpPr>
            <p:cNvPr id="455" name="Straight Connector 454">
              <a:extLst>
                <a:ext uri="{FF2B5EF4-FFF2-40B4-BE49-F238E27FC236}">
                  <a16:creationId xmlns:a16="http://schemas.microsoft.com/office/drawing/2014/main" id="{80DA7C4F-B24C-CCC2-1CD7-4009CE93DB1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89255" y="2422810"/>
              <a:ext cx="877178" cy="681377"/>
            </a:xfrm>
            <a:prstGeom prst="line">
              <a:avLst/>
            </a:pr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5418482A-9623-6FCE-F35B-8D4970EDE5D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88281" y="2440506"/>
              <a:ext cx="840532" cy="667788"/>
            </a:xfrm>
            <a:prstGeom prst="line">
              <a:avLst/>
            </a:pr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</p:cxnSp>
        <p:cxnSp>
          <p:nvCxnSpPr>
            <p:cNvPr id="457" name="Straight Connector 456">
              <a:extLst>
                <a:ext uri="{FF2B5EF4-FFF2-40B4-BE49-F238E27FC236}">
                  <a16:creationId xmlns:a16="http://schemas.microsoft.com/office/drawing/2014/main" id="{C6142665-378B-BB90-D1A7-9CEB79CE9F1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41305" y="3632834"/>
              <a:ext cx="984977" cy="339341"/>
            </a:xfrm>
            <a:prstGeom prst="line">
              <a:avLst/>
            </a:pr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</p:cxnSp>
        <p:cxnSp>
          <p:nvCxnSpPr>
            <p:cNvPr id="458" name="Straight Connector 457">
              <a:extLst>
                <a:ext uri="{FF2B5EF4-FFF2-40B4-BE49-F238E27FC236}">
                  <a16:creationId xmlns:a16="http://schemas.microsoft.com/office/drawing/2014/main" id="{EF16DE99-7337-13C6-A354-7F20083175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78094" y="3621645"/>
              <a:ext cx="848491" cy="350530"/>
            </a:xfrm>
            <a:prstGeom prst="line">
              <a:avLst/>
            </a:pr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</p:cxnSp>
        <p:sp>
          <p:nvSpPr>
            <p:cNvPr id="459" name="TextBox 458">
              <a:extLst>
                <a:ext uri="{FF2B5EF4-FFF2-40B4-BE49-F238E27FC236}">
                  <a16:creationId xmlns:a16="http://schemas.microsoft.com/office/drawing/2014/main" id="{D46C917F-9583-EB66-994F-BE31D23CADD1}"/>
                </a:ext>
              </a:extLst>
            </p:cNvPr>
            <p:cNvSpPr txBox="1"/>
            <p:nvPr/>
          </p:nvSpPr>
          <p:spPr>
            <a:xfrm>
              <a:off x="6359535" y="2434805"/>
              <a:ext cx="1066800" cy="121307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Manufacturing</a:t>
              </a:r>
            </a:p>
          </p:txBody>
        </p:sp>
        <p:sp>
          <p:nvSpPr>
            <p:cNvPr id="461" name="TextBox 460">
              <a:extLst>
                <a:ext uri="{FF2B5EF4-FFF2-40B4-BE49-F238E27FC236}">
                  <a16:creationId xmlns:a16="http://schemas.microsoft.com/office/drawing/2014/main" id="{E3CAF75C-84E4-565D-CF27-8BB049C28D8B}"/>
                </a:ext>
              </a:extLst>
            </p:cNvPr>
            <p:cNvSpPr txBox="1"/>
            <p:nvPr/>
          </p:nvSpPr>
          <p:spPr>
            <a:xfrm>
              <a:off x="667645" y="4469016"/>
              <a:ext cx="1066800" cy="121307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Robotics</a:t>
              </a: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&amp; mobility</a:t>
              </a:r>
            </a:p>
          </p:txBody>
        </p:sp>
        <p:sp>
          <p:nvSpPr>
            <p:cNvPr id="463" name="TextBox 462">
              <a:extLst>
                <a:ext uri="{FF2B5EF4-FFF2-40B4-BE49-F238E27FC236}">
                  <a16:creationId xmlns:a16="http://schemas.microsoft.com/office/drawing/2014/main" id="{5B319ADF-A539-765B-C2FA-6416FB2AEB02}"/>
                </a:ext>
              </a:extLst>
            </p:cNvPr>
            <p:cNvSpPr txBox="1"/>
            <p:nvPr/>
          </p:nvSpPr>
          <p:spPr>
            <a:xfrm>
              <a:off x="7139231" y="3518632"/>
              <a:ext cx="1066800" cy="247295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XR (AR, VR, </a:t>
              </a:r>
              <a:b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</a:b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465" name="TextBox 464">
              <a:extLst>
                <a:ext uri="{FF2B5EF4-FFF2-40B4-BE49-F238E27FC236}">
                  <a16:creationId xmlns:a16="http://schemas.microsoft.com/office/drawing/2014/main" id="{A63D30D4-E404-3551-D5D9-E1AE45A4A625}"/>
                </a:ext>
              </a:extLst>
            </p:cNvPr>
            <p:cNvSpPr txBox="1"/>
            <p:nvPr/>
          </p:nvSpPr>
          <p:spPr>
            <a:xfrm>
              <a:off x="7460357" y="4469883"/>
              <a:ext cx="1066800" cy="121307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Telecomm</a:t>
              </a:r>
            </a:p>
          </p:txBody>
        </p:sp>
        <p:pic>
          <p:nvPicPr>
            <p:cNvPr id="466" name="Graphic 465" descr="Quadcopter outline">
              <a:extLst>
                <a:ext uri="{FF2B5EF4-FFF2-40B4-BE49-F238E27FC236}">
                  <a16:creationId xmlns:a16="http://schemas.microsoft.com/office/drawing/2014/main" id="{F23659C0-0D12-830F-9412-6548E3C910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289853" y="3864271"/>
              <a:ext cx="339341" cy="339341"/>
            </a:xfrm>
            <a:prstGeom prst="rect">
              <a:avLst/>
            </a:prstGeom>
          </p:spPr>
        </p:pic>
        <p:pic>
          <p:nvPicPr>
            <p:cNvPr id="467" name="Graphic 466" descr="Hospital outline">
              <a:extLst>
                <a:ext uri="{FF2B5EF4-FFF2-40B4-BE49-F238E27FC236}">
                  <a16:creationId xmlns:a16="http://schemas.microsoft.com/office/drawing/2014/main" id="{DFF62C06-49E0-811B-3EF1-88673767BE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401845" y="1191722"/>
              <a:ext cx="683073" cy="683073"/>
            </a:xfrm>
            <a:prstGeom prst="rect">
              <a:avLst/>
            </a:prstGeom>
          </p:spPr>
        </p:pic>
        <p:pic>
          <p:nvPicPr>
            <p:cNvPr id="468" name="Graphic 467" descr="Excavator outline">
              <a:extLst>
                <a:ext uri="{FF2B5EF4-FFF2-40B4-BE49-F238E27FC236}">
                  <a16:creationId xmlns:a16="http://schemas.microsoft.com/office/drawing/2014/main" id="{9A443103-4BDD-CBA9-F3C4-C1896A78A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995161" y="1140703"/>
              <a:ext cx="740708" cy="740708"/>
            </a:xfrm>
            <a:prstGeom prst="rect">
              <a:avLst/>
            </a:prstGeom>
          </p:spPr>
        </p:pic>
        <p:sp>
          <p:nvSpPr>
            <p:cNvPr id="469" name="Freeform 117">
              <a:extLst>
                <a:ext uri="{FF2B5EF4-FFF2-40B4-BE49-F238E27FC236}">
                  <a16:creationId xmlns:a16="http://schemas.microsoft.com/office/drawing/2014/main" id="{F45C6DEE-CFA3-0F7C-522D-5A19F0D3B02E}"/>
                </a:ext>
              </a:extLst>
            </p:cNvPr>
            <p:cNvSpPr/>
            <p:nvPr/>
          </p:nvSpPr>
          <p:spPr>
            <a:xfrm>
              <a:off x="7296497" y="2875862"/>
              <a:ext cx="586424" cy="409917"/>
            </a:xfrm>
            <a:custGeom>
              <a:avLst/>
              <a:gdLst>
                <a:gd name="connsiteX0" fmla="*/ 762953 w 762952"/>
                <a:gd name="connsiteY0" fmla="*/ 416243 h 555427"/>
                <a:gd name="connsiteX1" fmla="*/ 762953 w 762952"/>
                <a:gd name="connsiteY1" fmla="*/ 312420 h 555427"/>
                <a:gd name="connsiteX2" fmla="*/ 0 w 762952"/>
                <a:gd name="connsiteY2" fmla="*/ 416243 h 555427"/>
                <a:gd name="connsiteX3" fmla="*/ 0 w 762952"/>
                <a:gd name="connsiteY3" fmla="*/ 312420 h 555427"/>
                <a:gd name="connsiteX4" fmla="*/ 623888 w 762952"/>
                <a:gd name="connsiteY4" fmla="*/ 69532 h 555427"/>
                <a:gd name="connsiteX5" fmla="*/ 562928 w 762952"/>
                <a:gd name="connsiteY5" fmla="*/ 18098 h 555427"/>
                <a:gd name="connsiteX6" fmla="*/ 485775 w 762952"/>
                <a:gd name="connsiteY6" fmla="*/ 0 h 555427"/>
                <a:gd name="connsiteX7" fmla="*/ 277178 w 762952"/>
                <a:gd name="connsiteY7" fmla="*/ 0 h 555427"/>
                <a:gd name="connsiteX8" fmla="*/ 200025 w 762952"/>
                <a:gd name="connsiteY8" fmla="*/ 18098 h 555427"/>
                <a:gd name="connsiteX9" fmla="*/ 139065 w 762952"/>
                <a:gd name="connsiteY9" fmla="*/ 69532 h 555427"/>
                <a:gd name="connsiteX10" fmla="*/ 543878 w 762952"/>
                <a:gd name="connsiteY10" fmla="*/ 555308 h 555427"/>
                <a:gd name="connsiteX11" fmla="*/ 501967 w 762952"/>
                <a:gd name="connsiteY11" fmla="*/ 541973 h 555427"/>
                <a:gd name="connsiteX12" fmla="*/ 421958 w 762952"/>
                <a:gd name="connsiteY12" fmla="*/ 482918 h 555427"/>
                <a:gd name="connsiteX13" fmla="*/ 380048 w 762952"/>
                <a:gd name="connsiteY13" fmla="*/ 469583 h 555427"/>
                <a:gd name="connsiteX14" fmla="*/ 338138 w 762952"/>
                <a:gd name="connsiteY14" fmla="*/ 482918 h 555427"/>
                <a:gd name="connsiteX15" fmla="*/ 258127 w 762952"/>
                <a:gd name="connsiteY15" fmla="*/ 541973 h 555427"/>
                <a:gd name="connsiteX16" fmla="*/ 216218 w 762952"/>
                <a:gd name="connsiteY16" fmla="*/ 555308 h 555427"/>
                <a:gd name="connsiteX17" fmla="*/ 110490 w 762952"/>
                <a:gd name="connsiteY17" fmla="*/ 555308 h 555427"/>
                <a:gd name="connsiteX18" fmla="*/ 58103 w 762952"/>
                <a:gd name="connsiteY18" fmla="*/ 536258 h 555427"/>
                <a:gd name="connsiteX19" fmla="*/ 34290 w 762952"/>
                <a:gd name="connsiteY19" fmla="*/ 485775 h 555427"/>
                <a:gd name="connsiteX20" fmla="*/ 34290 w 762952"/>
                <a:gd name="connsiteY20" fmla="*/ 271463 h 555427"/>
                <a:gd name="connsiteX21" fmla="*/ 58103 w 762952"/>
                <a:gd name="connsiteY21" fmla="*/ 220028 h 555427"/>
                <a:gd name="connsiteX22" fmla="*/ 110490 w 762952"/>
                <a:gd name="connsiteY22" fmla="*/ 199073 h 555427"/>
                <a:gd name="connsiteX23" fmla="*/ 262890 w 762952"/>
                <a:gd name="connsiteY23" fmla="*/ 184785 h 555427"/>
                <a:gd name="connsiteX24" fmla="*/ 501967 w 762952"/>
                <a:gd name="connsiteY24" fmla="*/ 184785 h 555427"/>
                <a:gd name="connsiteX25" fmla="*/ 651510 w 762952"/>
                <a:gd name="connsiteY25" fmla="*/ 201930 h 555427"/>
                <a:gd name="connsiteX26" fmla="*/ 703898 w 762952"/>
                <a:gd name="connsiteY26" fmla="*/ 220980 h 555427"/>
                <a:gd name="connsiteX27" fmla="*/ 727710 w 762952"/>
                <a:gd name="connsiteY27" fmla="*/ 271463 h 555427"/>
                <a:gd name="connsiteX28" fmla="*/ 727710 w 762952"/>
                <a:gd name="connsiteY28" fmla="*/ 485775 h 555427"/>
                <a:gd name="connsiteX29" fmla="*/ 703898 w 762952"/>
                <a:gd name="connsiteY29" fmla="*/ 536258 h 555427"/>
                <a:gd name="connsiteX30" fmla="*/ 651510 w 762952"/>
                <a:gd name="connsiteY30" fmla="*/ 555308 h 555427"/>
                <a:gd name="connsiteX31" fmla="*/ 543878 w 762952"/>
                <a:gd name="connsiteY31" fmla="*/ 555308 h 55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62952" h="555427">
                  <a:moveTo>
                    <a:pt x="762953" y="416243"/>
                  </a:moveTo>
                  <a:lnTo>
                    <a:pt x="762953" y="312420"/>
                  </a:lnTo>
                  <a:moveTo>
                    <a:pt x="0" y="416243"/>
                  </a:moveTo>
                  <a:lnTo>
                    <a:pt x="0" y="312420"/>
                  </a:lnTo>
                  <a:moveTo>
                    <a:pt x="623888" y="69532"/>
                  </a:moveTo>
                  <a:cubicBezTo>
                    <a:pt x="607695" y="47625"/>
                    <a:pt x="586740" y="30480"/>
                    <a:pt x="562928" y="18098"/>
                  </a:cubicBezTo>
                  <a:cubicBezTo>
                    <a:pt x="539115" y="5715"/>
                    <a:pt x="512445" y="0"/>
                    <a:pt x="485775" y="0"/>
                  </a:cubicBezTo>
                  <a:lnTo>
                    <a:pt x="277178" y="0"/>
                  </a:lnTo>
                  <a:cubicBezTo>
                    <a:pt x="250508" y="0"/>
                    <a:pt x="223838" y="5715"/>
                    <a:pt x="200025" y="18098"/>
                  </a:cubicBezTo>
                  <a:cubicBezTo>
                    <a:pt x="176213" y="30480"/>
                    <a:pt x="155258" y="47625"/>
                    <a:pt x="139065" y="69532"/>
                  </a:cubicBezTo>
                  <a:moveTo>
                    <a:pt x="543878" y="555308"/>
                  </a:moveTo>
                  <a:cubicBezTo>
                    <a:pt x="528638" y="556260"/>
                    <a:pt x="514350" y="551498"/>
                    <a:pt x="501967" y="541973"/>
                  </a:cubicBezTo>
                  <a:lnTo>
                    <a:pt x="421958" y="482918"/>
                  </a:lnTo>
                  <a:cubicBezTo>
                    <a:pt x="409575" y="474345"/>
                    <a:pt x="395288" y="469583"/>
                    <a:pt x="380048" y="469583"/>
                  </a:cubicBezTo>
                  <a:cubicBezTo>
                    <a:pt x="364808" y="469583"/>
                    <a:pt x="350520" y="474345"/>
                    <a:pt x="338138" y="482918"/>
                  </a:cubicBezTo>
                  <a:lnTo>
                    <a:pt x="258127" y="541973"/>
                  </a:lnTo>
                  <a:cubicBezTo>
                    <a:pt x="246698" y="551498"/>
                    <a:pt x="231458" y="556260"/>
                    <a:pt x="216218" y="555308"/>
                  </a:cubicBezTo>
                  <a:lnTo>
                    <a:pt x="110490" y="555308"/>
                  </a:lnTo>
                  <a:cubicBezTo>
                    <a:pt x="91440" y="556260"/>
                    <a:pt x="72390" y="549593"/>
                    <a:pt x="58103" y="536258"/>
                  </a:cubicBezTo>
                  <a:cubicBezTo>
                    <a:pt x="43815" y="522922"/>
                    <a:pt x="35243" y="504825"/>
                    <a:pt x="34290" y="485775"/>
                  </a:cubicBezTo>
                  <a:lnTo>
                    <a:pt x="34290" y="271463"/>
                  </a:lnTo>
                  <a:cubicBezTo>
                    <a:pt x="35243" y="251460"/>
                    <a:pt x="43815" y="233363"/>
                    <a:pt x="58103" y="220028"/>
                  </a:cubicBezTo>
                  <a:cubicBezTo>
                    <a:pt x="72390" y="206693"/>
                    <a:pt x="91440" y="199073"/>
                    <a:pt x="110490" y="199073"/>
                  </a:cubicBezTo>
                  <a:lnTo>
                    <a:pt x="262890" y="184785"/>
                  </a:lnTo>
                  <a:cubicBezTo>
                    <a:pt x="341948" y="174308"/>
                    <a:pt x="422910" y="174308"/>
                    <a:pt x="501967" y="184785"/>
                  </a:cubicBezTo>
                  <a:lnTo>
                    <a:pt x="651510" y="201930"/>
                  </a:lnTo>
                  <a:cubicBezTo>
                    <a:pt x="670560" y="200978"/>
                    <a:pt x="689610" y="207645"/>
                    <a:pt x="703898" y="220980"/>
                  </a:cubicBezTo>
                  <a:cubicBezTo>
                    <a:pt x="718185" y="234315"/>
                    <a:pt x="726758" y="252413"/>
                    <a:pt x="727710" y="271463"/>
                  </a:cubicBezTo>
                  <a:lnTo>
                    <a:pt x="727710" y="485775"/>
                  </a:lnTo>
                  <a:cubicBezTo>
                    <a:pt x="726758" y="504825"/>
                    <a:pt x="718185" y="522922"/>
                    <a:pt x="703898" y="536258"/>
                  </a:cubicBezTo>
                  <a:cubicBezTo>
                    <a:pt x="689610" y="549593"/>
                    <a:pt x="670560" y="556260"/>
                    <a:pt x="651510" y="555308"/>
                  </a:cubicBezTo>
                  <a:lnTo>
                    <a:pt x="543878" y="555308"/>
                  </a:lnTo>
                  <a:close/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2400" b="0" i="0" u="none" strike="noStrike" kern="1200" cap="none" spc="0" normalizeH="0" baseline="0" noProof="0">
                <a:ln>
                  <a:noFill/>
                </a:ln>
                <a:solidFill>
                  <a:srgbClr val="CCCCCC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pic>
          <p:nvPicPr>
            <p:cNvPr id="470" name="Graphic 469" descr="Robot Hand outline">
              <a:extLst>
                <a:ext uri="{FF2B5EF4-FFF2-40B4-BE49-F238E27FC236}">
                  <a16:creationId xmlns:a16="http://schemas.microsoft.com/office/drawing/2014/main" id="{F7D3D995-F88C-71C1-4D7C-0B4B7AD3F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85305" y="3949977"/>
              <a:ext cx="529108" cy="529108"/>
            </a:xfrm>
            <a:prstGeom prst="rect">
              <a:avLst/>
            </a:prstGeom>
          </p:spPr>
        </p:pic>
        <p:grpSp>
          <p:nvGrpSpPr>
            <p:cNvPr id="471" name="Graphic 56">
              <a:extLst>
                <a:ext uri="{FF2B5EF4-FFF2-40B4-BE49-F238E27FC236}">
                  <a16:creationId xmlns:a16="http://schemas.microsoft.com/office/drawing/2014/main" id="{EAC9F66C-BE47-7488-E2A1-07248C14C30E}"/>
                </a:ext>
              </a:extLst>
            </p:cNvPr>
            <p:cNvGrpSpPr/>
            <p:nvPr/>
          </p:nvGrpSpPr>
          <p:grpSpPr>
            <a:xfrm>
              <a:off x="7745968" y="3996849"/>
              <a:ext cx="430674" cy="409918"/>
              <a:chOff x="7764966" y="1192259"/>
              <a:chExt cx="341999" cy="360000"/>
            </a:xfrm>
            <a:noFill/>
          </p:grpSpPr>
          <p:sp>
            <p:nvSpPr>
              <p:cNvPr id="472" name="Freeform: Shape 92">
                <a:extLst>
                  <a:ext uri="{FF2B5EF4-FFF2-40B4-BE49-F238E27FC236}">
                    <a16:creationId xmlns:a16="http://schemas.microsoft.com/office/drawing/2014/main" id="{78DA4863-EF11-DE52-4819-AEB5C5ED6CED}"/>
                  </a:ext>
                </a:extLst>
              </p:cNvPr>
              <p:cNvSpPr/>
              <p:nvPr/>
            </p:nvSpPr>
            <p:spPr>
              <a:xfrm>
                <a:off x="7935966" y="1393859"/>
                <a:ext cx="4500" cy="158400"/>
              </a:xfrm>
              <a:custGeom>
                <a:avLst/>
                <a:gdLst>
                  <a:gd name="connsiteX0" fmla="*/ 0 w 4500"/>
                  <a:gd name="connsiteY0" fmla="*/ 0 h 158400"/>
                  <a:gd name="connsiteX1" fmla="*/ 0 w 4500"/>
                  <a:gd name="connsiteY1" fmla="*/ 158400 h 158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500" h="158400">
                    <a:moveTo>
                      <a:pt x="0" y="0"/>
                    </a:moveTo>
                    <a:lnTo>
                      <a:pt x="0" y="15840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grpSp>
            <p:nvGrpSpPr>
              <p:cNvPr id="473" name="Graphic 56">
                <a:extLst>
                  <a:ext uri="{FF2B5EF4-FFF2-40B4-BE49-F238E27FC236}">
                    <a16:creationId xmlns:a16="http://schemas.microsoft.com/office/drawing/2014/main" id="{3030D548-BCCE-AE1B-5C0B-0552F8078EE5}"/>
                  </a:ext>
                </a:extLst>
              </p:cNvPr>
              <p:cNvGrpSpPr/>
              <p:nvPr/>
            </p:nvGrpSpPr>
            <p:grpSpPr>
              <a:xfrm>
                <a:off x="7764966" y="1195409"/>
                <a:ext cx="47250" cy="106199"/>
                <a:chOff x="7764966" y="1195409"/>
                <a:chExt cx="47250" cy="106199"/>
              </a:xfrm>
            </p:grpSpPr>
            <p:sp>
              <p:nvSpPr>
                <p:cNvPr id="482" name="Freeform: Shape 94">
                  <a:extLst>
                    <a:ext uri="{FF2B5EF4-FFF2-40B4-BE49-F238E27FC236}">
                      <a16:creationId xmlns:a16="http://schemas.microsoft.com/office/drawing/2014/main" id="{98AAD5AF-C0AE-DB9A-599E-D950481C4849}"/>
                    </a:ext>
                  </a:extLst>
                </p:cNvPr>
                <p:cNvSpPr/>
                <p:nvPr/>
              </p:nvSpPr>
              <p:spPr>
                <a:xfrm>
                  <a:off x="7778917" y="1297108"/>
                  <a:ext cx="33299" cy="4500"/>
                </a:xfrm>
                <a:custGeom>
                  <a:avLst/>
                  <a:gdLst>
                    <a:gd name="connsiteX0" fmla="*/ 33300 w 33299"/>
                    <a:gd name="connsiteY0" fmla="*/ 0 h 4500"/>
                    <a:gd name="connsiteX1" fmla="*/ 0 w 33299"/>
                    <a:gd name="connsiteY1" fmla="*/ 4500 h 4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299" h="4500">
                      <a:moveTo>
                        <a:pt x="33300" y="0"/>
                      </a:moveTo>
                      <a:lnTo>
                        <a:pt x="0" y="4500"/>
                      </a:lnTo>
                    </a:path>
                  </a:pathLst>
                </a:custGeom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4571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00" b="0" i="0" u="none" strike="noStrike" kern="1200" cap="none" spc="0" normalizeH="0" baseline="0" noProof="0">
                    <a:ln>
                      <a:noFill/>
                    </a:ln>
                    <a:solidFill>
                      <a:srgbClr val="CCCCCC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483" name="Freeform: Shape 95">
                  <a:extLst>
                    <a:ext uri="{FF2B5EF4-FFF2-40B4-BE49-F238E27FC236}">
                      <a16:creationId xmlns:a16="http://schemas.microsoft.com/office/drawing/2014/main" id="{9FF50B57-A4D8-0BFC-B63F-2CF3FF98E23B}"/>
                    </a:ext>
                  </a:extLst>
                </p:cNvPr>
                <p:cNvSpPr/>
                <p:nvPr/>
              </p:nvSpPr>
              <p:spPr>
                <a:xfrm>
                  <a:off x="7764966" y="1195409"/>
                  <a:ext cx="31951" cy="19350"/>
                </a:xfrm>
                <a:custGeom>
                  <a:avLst/>
                  <a:gdLst>
                    <a:gd name="connsiteX0" fmla="*/ 0 w 31950"/>
                    <a:gd name="connsiteY0" fmla="*/ 0 h 19350"/>
                    <a:gd name="connsiteX1" fmla="*/ 31950 w 31950"/>
                    <a:gd name="connsiteY1" fmla="*/ 19350 h 19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950" h="19350">
                      <a:moveTo>
                        <a:pt x="0" y="0"/>
                      </a:moveTo>
                      <a:lnTo>
                        <a:pt x="31950" y="19350"/>
                      </a:lnTo>
                    </a:path>
                  </a:pathLst>
                </a:custGeom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4571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00" b="0" i="0" u="none" strike="noStrike" kern="1200" cap="none" spc="0" normalizeH="0" baseline="0" noProof="0">
                    <a:ln>
                      <a:noFill/>
                    </a:ln>
                    <a:solidFill>
                      <a:srgbClr val="CCCCCC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74" name="Freeform: Shape 96">
                <a:extLst>
                  <a:ext uri="{FF2B5EF4-FFF2-40B4-BE49-F238E27FC236}">
                    <a16:creationId xmlns:a16="http://schemas.microsoft.com/office/drawing/2014/main" id="{0F96269D-B3B4-BC8A-E111-49884F8C84C1}"/>
                  </a:ext>
                </a:extLst>
              </p:cNvPr>
              <p:cNvSpPr/>
              <p:nvPr/>
            </p:nvSpPr>
            <p:spPr>
              <a:xfrm>
                <a:off x="7792416" y="1380809"/>
                <a:ext cx="26099" cy="26549"/>
              </a:xfrm>
              <a:custGeom>
                <a:avLst/>
                <a:gdLst>
                  <a:gd name="connsiteX0" fmla="*/ 0 w 26099"/>
                  <a:gd name="connsiteY0" fmla="*/ 26550 h 26549"/>
                  <a:gd name="connsiteX1" fmla="*/ 26100 w 26099"/>
                  <a:gd name="connsiteY1" fmla="*/ 0 h 26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99" h="26549">
                    <a:moveTo>
                      <a:pt x="0" y="26550"/>
                    </a:moveTo>
                    <a:lnTo>
                      <a:pt x="26100" y="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grpSp>
            <p:nvGrpSpPr>
              <p:cNvPr id="475" name="Graphic 56">
                <a:extLst>
                  <a:ext uri="{FF2B5EF4-FFF2-40B4-BE49-F238E27FC236}">
                    <a16:creationId xmlns:a16="http://schemas.microsoft.com/office/drawing/2014/main" id="{C3799ACF-D61C-2FAA-DB2B-F47618A1D1CB}"/>
                  </a:ext>
                </a:extLst>
              </p:cNvPr>
              <p:cNvGrpSpPr/>
              <p:nvPr/>
            </p:nvGrpSpPr>
            <p:grpSpPr>
              <a:xfrm>
                <a:off x="8059716" y="1195409"/>
                <a:ext cx="47249" cy="106199"/>
                <a:chOff x="8059716" y="1195409"/>
                <a:chExt cx="47249" cy="106199"/>
              </a:xfrm>
            </p:grpSpPr>
            <p:sp>
              <p:nvSpPr>
                <p:cNvPr id="480" name="Freeform: Shape 98">
                  <a:extLst>
                    <a:ext uri="{FF2B5EF4-FFF2-40B4-BE49-F238E27FC236}">
                      <a16:creationId xmlns:a16="http://schemas.microsoft.com/office/drawing/2014/main" id="{949DC5FA-7A85-06D5-7016-B5337D958778}"/>
                    </a:ext>
                  </a:extLst>
                </p:cNvPr>
                <p:cNvSpPr/>
                <p:nvPr/>
              </p:nvSpPr>
              <p:spPr>
                <a:xfrm>
                  <a:off x="8059716" y="1297108"/>
                  <a:ext cx="33298" cy="4500"/>
                </a:xfrm>
                <a:custGeom>
                  <a:avLst/>
                  <a:gdLst>
                    <a:gd name="connsiteX0" fmla="*/ 0 w 33300"/>
                    <a:gd name="connsiteY0" fmla="*/ 0 h 4500"/>
                    <a:gd name="connsiteX1" fmla="*/ 33300 w 33300"/>
                    <a:gd name="connsiteY1" fmla="*/ 4500 h 4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300" h="4500">
                      <a:moveTo>
                        <a:pt x="0" y="0"/>
                      </a:moveTo>
                      <a:lnTo>
                        <a:pt x="33300" y="4500"/>
                      </a:lnTo>
                    </a:path>
                  </a:pathLst>
                </a:custGeom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4571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00" b="0" i="0" u="none" strike="noStrike" kern="1200" cap="none" spc="0" normalizeH="0" baseline="0" noProof="0">
                    <a:ln>
                      <a:noFill/>
                    </a:ln>
                    <a:solidFill>
                      <a:srgbClr val="CCCCCC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481" name="Freeform: Shape 99">
                  <a:extLst>
                    <a:ext uri="{FF2B5EF4-FFF2-40B4-BE49-F238E27FC236}">
                      <a16:creationId xmlns:a16="http://schemas.microsoft.com/office/drawing/2014/main" id="{AFC48680-3619-BF22-2F98-3AD419B38154}"/>
                    </a:ext>
                  </a:extLst>
                </p:cNvPr>
                <p:cNvSpPr/>
                <p:nvPr/>
              </p:nvSpPr>
              <p:spPr>
                <a:xfrm>
                  <a:off x="8075016" y="1195409"/>
                  <a:ext cx="31949" cy="19350"/>
                </a:xfrm>
                <a:custGeom>
                  <a:avLst/>
                  <a:gdLst>
                    <a:gd name="connsiteX0" fmla="*/ 31950 w 31949"/>
                    <a:gd name="connsiteY0" fmla="*/ 0 h 19350"/>
                    <a:gd name="connsiteX1" fmla="*/ 0 w 31949"/>
                    <a:gd name="connsiteY1" fmla="*/ 19350 h 19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949" h="19350">
                      <a:moveTo>
                        <a:pt x="31950" y="0"/>
                      </a:moveTo>
                      <a:lnTo>
                        <a:pt x="0" y="19350"/>
                      </a:lnTo>
                    </a:path>
                  </a:pathLst>
                </a:custGeom>
                <a:ln w="12700" cap="rnd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45718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100" b="0" i="0" u="none" strike="noStrike" kern="1200" cap="none" spc="0" normalizeH="0" baseline="0" noProof="0">
                    <a:ln>
                      <a:noFill/>
                    </a:ln>
                    <a:solidFill>
                      <a:srgbClr val="CCCCCC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476" name="Freeform: Shape 100">
                <a:extLst>
                  <a:ext uri="{FF2B5EF4-FFF2-40B4-BE49-F238E27FC236}">
                    <a16:creationId xmlns:a16="http://schemas.microsoft.com/office/drawing/2014/main" id="{CF570F67-EB25-406C-D216-BAB7753C0C44}"/>
                  </a:ext>
                </a:extLst>
              </p:cNvPr>
              <p:cNvSpPr/>
              <p:nvPr/>
            </p:nvSpPr>
            <p:spPr>
              <a:xfrm>
                <a:off x="8053416" y="1380809"/>
                <a:ext cx="26101" cy="26549"/>
              </a:xfrm>
              <a:custGeom>
                <a:avLst/>
                <a:gdLst>
                  <a:gd name="connsiteX0" fmla="*/ 26100 w 26100"/>
                  <a:gd name="connsiteY0" fmla="*/ 26550 h 26549"/>
                  <a:gd name="connsiteX1" fmla="*/ 0 w 26100"/>
                  <a:gd name="connsiteY1" fmla="*/ 0 h 26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00" h="26549">
                    <a:moveTo>
                      <a:pt x="26100" y="26550"/>
                    </a:moveTo>
                    <a:lnTo>
                      <a:pt x="0" y="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7" name="Freeform: Shape 101">
                <a:extLst>
                  <a:ext uri="{FF2B5EF4-FFF2-40B4-BE49-F238E27FC236}">
                    <a16:creationId xmlns:a16="http://schemas.microsoft.com/office/drawing/2014/main" id="{3DBB8DBA-4844-14F4-A650-3FA270571B08}"/>
                  </a:ext>
                </a:extLst>
              </p:cNvPr>
              <p:cNvSpPr/>
              <p:nvPr/>
            </p:nvSpPr>
            <p:spPr>
              <a:xfrm>
                <a:off x="7998516" y="1192259"/>
                <a:ext cx="28348" cy="199799"/>
              </a:xfrm>
              <a:custGeom>
                <a:avLst/>
                <a:gdLst>
                  <a:gd name="connsiteX0" fmla="*/ 28350 w 28349"/>
                  <a:gd name="connsiteY0" fmla="*/ 0 h 199800"/>
                  <a:gd name="connsiteX1" fmla="*/ 0 w 28349"/>
                  <a:gd name="connsiteY1" fmla="*/ 199800 h 19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49" h="199800">
                    <a:moveTo>
                      <a:pt x="28350" y="0"/>
                    </a:moveTo>
                    <a:lnTo>
                      <a:pt x="0" y="19980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8" name="Freeform: Shape 102">
                <a:extLst>
                  <a:ext uri="{FF2B5EF4-FFF2-40B4-BE49-F238E27FC236}">
                    <a16:creationId xmlns:a16="http://schemas.microsoft.com/office/drawing/2014/main" id="{CA032633-C792-B1A9-A44C-10EBADDF94BA}"/>
                  </a:ext>
                </a:extLst>
              </p:cNvPr>
              <p:cNvSpPr/>
              <p:nvPr/>
            </p:nvSpPr>
            <p:spPr>
              <a:xfrm>
                <a:off x="7845066" y="1192259"/>
                <a:ext cx="28350" cy="199799"/>
              </a:xfrm>
              <a:custGeom>
                <a:avLst/>
                <a:gdLst>
                  <a:gd name="connsiteX0" fmla="*/ 0 w 28350"/>
                  <a:gd name="connsiteY0" fmla="*/ 0 h 199800"/>
                  <a:gd name="connsiteX1" fmla="*/ 28350 w 28350"/>
                  <a:gd name="connsiteY1" fmla="*/ 199800 h 199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8350" h="199800">
                    <a:moveTo>
                      <a:pt x="0" y="0"/>
                    </a:moveTo>
                    <a:lnTo>
                      <a:pt x="28350" y="199800"/>
                    </a:lnTo>
                  </a:path>
                </a:pathLst>
              </a:custGeom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479" name="Freeform: Shape 103">
                <a:extLst>
                  <a:ext uri="{FF2B5EF4-FFF2-40B4-BE49-F238E27FC236}">
                    <a16:creationId xmlns:a16="http://schemas.microsoft.com/office/drawing/2014/main" id="{A65840A8-EC87-2ADE-3A67-D98C18B5AA27}"/>
                  </a:ext>
                </a:extLst>
              </p:cNvPr>
              <p:cNvSpPr/>
              <p:nvPr/>
            </p:nvSpPr>
            <p:spPr>
              <a:xfrm>
                <a:off x="7912116" y="1192259"/>
                <a:ext cx="48150" cy="199349"/>
              </a:xfrm>
              <a:custGeom>
                <a:avLst/>
                <a:gdLst>
                  <a:gd name="connsiteX0" fmla="*/ 0 w 48150"/>
                  <a:gd name="connsiteY0" fmla="*/ 0 h 199350"/>
                  <a:gd name="connsiteX1" fmla="*/ 48150 w 48150"/>
                  <a:gd name="connsiteY1" fmla="*/ 0 h 199350"/>
                  <a:gd name="connsiteX2" fmla="*/ 48150 w 48150"/>
                  <a:gd name="connsiteY2" fmla="*/ 199350 h 199350"/>
                  <a:gd name="connsiteX3" fmla="*/ 0 w 48150"/>
                  <a:gd name="connsiteY3" fmla="*/ 199350 h 199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150" h="199350">
                    <a:moveTo>
                      <a:pt x="0" y="0"/>
                    </a:moveTo>
                    <a:lnTo>
                      <a:pt x="48150" y="0"/>
                    </a:lnTo>
                    <a:lnTo>
                      <a:pt x="48150" y="199350"/>
                    </a:lnTo>
                    <a:lnTo>
                      <a:pt x="0" y="199350"/>
                    </a:ln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45718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1200" cap="none" spc="0" normalizeH="0" baseline="0" noProof="0">
                  <a:ln>
                    <a:noFill/>
                  </a:ln>
                  <a:solidFill>
                    <a:srgbClr val="CCCCCC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87" name="Group 486">
            <a:extLst>
              <a:ext uri="{FF2B5EF4-FFF2-40B4-BE49-F238E27FC236}">
                <a16:creationId xmlns:a16="http://schemas.microsoft.com/office/drawing/2014/main" id="{E1E7E5F0-6951-8D58-345E-E628A62D9DA5}"/>
              </a:ext>
            </a:extLst>
          </p:cNvPr>
          <p:cNvGrpSpPr/>
          <p:nvPr/>
        </p:nvGrpSpPr>
        <p:grpSpPr>
          <a:xfrm>
            <a:off x="1685481" y="2028437"/>
            <a:ext cx="5940000" cy="5402781"/>
            <a:chOff x="1566993" y="1994469"/>
            <a:chExt cx="5940000" cy="5402781"/>
          </a:xfrm>
        </p:grpSpPr>
        <p:sp>
          <p:nvSpPr>
            <p:cNvPr id="488" name="Partial Circle 6">
              <a:extLst>
                <a:ext uri="{FF2B5EF4-FFF2-40B4-BE49-F238E27FC236}">
                  <a16:creationId xmlns:a16="http://schemas.microsoft.com/office/drawing/2014/main" id="{B7EA3360-4FE9-640F-8370-673235DDC70C}"/>
                </a:ext>
              </a:extLst>
            </p:cNvPr>
            <p:cNvSpPr/>
            <p:nvPr/>
          </p:nvSpPr>
          <p:spPr>
            <a:xfrm rot="10800000">
              <a:off x="1566993" y="1994469"/>
              <a:ext cx="5940000" cy="5402781"/>
            </a:xfrm>
            <a:prstGeom prst="pie">
              <a:avLst>
                <a:gd name="adj1" fmla="val 21582137"/>
                <a:gd name="adj2" fmla="val 10812602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9" name="Partial Circle 7">
              <a:extLst>
                <a:ext uri="{FF2B5EF4-FFF2-40B4-BE49-F238E27FC236}">
                  <a16:creationId xmlns:a16="http://schemas.microsoft.com/office/drawing/2014/main" id="{52B6BAD1-8EA3-565C-125C-2D8F3087D4D8}"/>
                </a:ext>
              </a:extLst>
            </p:cNvPr>
            <p:cNvSpPr/>
            <p:nvPr/>
          </p:nvSpPr>
          <p:spPr>
            <a:xfrm rot="10800000">
              <a:off x="2554607" y="3015770"/>
              <a:ext cx="4050000" cy="3386296"/>
            </a:xfrm>
            <a:prstGeom prst="pie">
              <a:avLst>
                <a:gd name="adj1" fmla="val 0"/>
                <a:gd name="adj2" fmla="val 10800001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endPara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90" name="TextBox 489">
              <a:extLst>
                <a:ext uri="{FF2B5EF4-FFF2-40B4-BE49-F238E27FC236}">
                  <a16:creationId xmlns:a16="http://schemas.microsoft.com/office/drawing/2014/main" id="{92752824-57F6-1ECF-9436-FC6F8B357B07}"/>
                </a:ext>
              </a:extLst>
            </p:cNvPr>
            <p:cNvSpPr txBox="1"/>
            <p:nvPr/>
          </p:nvSpPr>
          <p:spPr>
            <a:xfrm>
              <a:off x="5507954" y="4064357"/>
              <a:ext cx="977441" cy="306582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Industry</a:t>
              </a:r>
            </a:p>
          </p:txBody>
        </p:sp>
        <p:sp>
          <p:nvSpPr>
            <p:cNvPr id="491" name="TextBox 490">
              <a:extLst>
                <a:ext uri="{FF2B5EF4-FFF2-40B4-BE49-F238E27FC236}">
                  <a16:creationId xmlns:a16="http://schemas.microsoft.com/office/drawing/2014/main" id="{2FC2E371-FC12-246A-2035-DEB316122810}"/>
                </a:ext>
              </a:extLst>
            </p:cNvPr>
            <p:cNvSpPr txBox="1"/>
            <p:nvPr/>
          </p:nvSpPr>
          <p:spPr>
            <a:xfrm>
              <a:off x="2712551" y="4064357"/>
              <a:ext cx="977441" cy="291157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Gover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nment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492" name="TextBox 491">
              <a:extLst>
                <a:ext uri="{FF2B5EF4-FFF2-40B4-BE49-F238E27FC236}">
                  <a16:creationId xmlns:a16="http://schemas.microsoft.com/office/drawing/2014/main" id="{7F869697-D152-DBE3-CC39-26E79AB1E23B}"/>
                </a:ext>
              </a:extLst>
            </p:cNvPr>
            <p:cNvSpPr txBox="1"/>
            <p:nvPr/>
          </p:nvSpPr>
          <p:spPr>
            <a:xfrm>
              <a:off x="3998752" y="3290173"/>
              <a:ext cx="1216038" cy="333634"/>
            </a:xfrm>
            <a:prstGeom prst="rect">
              <a:avLst/>
            </a:prstGeom>
            <a:noFill/>
            <a:ln cap="rnd">
              <a:noFill/>
              <a:prstDash val="sysDot"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University </a:t>
              </a:r>
            </a:p>
          </p:txBody>
        </p:sp>
        <p:pic>
          <p:nvPicPr>
            <p:cNvPr id="493" name="Picture 2" descr="VTT Technical Research Centre of Finland - Wikipedia">
              <a:extLst>
                <a:ext uri="{FF2B5EF4-FFF2-40B4-BE49-F238E27FC236}">
                  <a16:creationId xmlns:a16="http://schemas.microsoft.com/office/drawing/2014/main" id="{D37CD165-CF8A-880B-A83F-735ECC52F6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7588" y="4316268"/>
              <a:ext cx="581320" cy="3904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4" name="Picture 4" descr="Business Finland - Wikipedia">
              <a:extLst>
                <a:ext uri="{FF2B5EF4-FFF2-40B4-BE49-F238E27FC236}">
                  <a16:creationId xmlns:a16="http://schemas.microsoft.com/office/drawing/2014/main" id="{C36AE7B6-EEA6-0759-74A7-B4DCD65C6F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9816" y="3939957"/>
              <a:ext cx="619735" cy="349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9" name="Picture 12" descr="European Commission work plan for 2015: A new start | EMN">
              <a:extLst>
                <a:ext uri="{FF2B5EF4-FFF2-40B4-BE49-F238E27FC236}">
                  <a16:creationId xmlns:a16="http://schemas.microsoft.com/office/drawing/2014/main" id="{6D350404-B748-53B7-AD66-5C5B99D9DE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3092" y="3419867"/>
              <a:ext cx="513419" cy="532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0" name="Picture 14" descr="University of Oulu - Wikipedia">
              <a:extLst>
                <a:ext uri="{FF2B5EF4-FFF2-40B4-BE49-F238E27FC236}">
                  <a16:creationId xmlns:a16="http://schemas.microsoft.com/office/drawing/2014/main" id="{C320B21D-D6C5-7160-EB6E-A3392A3E1B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3792" y="2528174"/>
              <a:ext cx="360896" cy="4740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1" name="Picture 16">
              <a:extLst>
                <a:ext uri="{FF2B5EF4-FFF2-40B4-BE49-F238E27FC236}">
                  <a16:creationId xmlns:a16="http://schemas.microsoft.com/office/drawing/2014/main" id="{474ECCDC-1935-F420-2260-C6F0171C1F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4666" y="2216146"/>
              <a:ext cx="556845" cy="4648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3" name="Picture 18">
              <a:extLst>
                <a:ext uri="{FF2B5EF4-FFF2-40B4-BE49-F238E27FC236}">
                  <a16:creationId xmlns:a16="http://schemas.microsoft.com/office/drawing/2014/main" id="{C7137CD0-5C09-B620-7FA8-6AE0CA4768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9299" y="2657949"/>
              <a:ext cx="497658" cy="4816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5" name="Picture 20">
              <a:extLst>
                <a:ext uri="{FF2B5EF4-FFF2-40B4-BE49-F238E27FC236}">
                  <a16:creationId xmlns:a16="http://schemas.microsoft.com/office/drawing/2014/main" id="{DD870C80-E65F-4817-6860-24AD7E3BCEA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82" t="12702" r="6526" b="13725"/>
            <a:stretch/>
          </p:blipFill>
          <p:spPr bwMode="auto">
            <a:xfrm>
              <a:off x="3844779" y="2729870"/>
              <a:ext cx="640419" cy="2392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7" name="Picture 22" descr="Centria University of Applied Sciences | Study in Finland">
              <a:extLst>
                <a:ext uri="{FF2B5EF4-FFF2-40B4-BE49-F238E27FC236}">
                  <a16:creationId xmlns:a16="http://schemas.microsoft.com/office/drawing/2014/main" id="{33B23CE8-52D2-84FD-F4D8-D3F3E642408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643" b="25804"/>
            <a:stretch/>
          </p:blipFill>
          <p:spPr bwMode="auto">
            <a:xfrm>
              <a:off x="2784638" y="2850420"/>
              <a:ext cx="854903" cy="2497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8" name="Picture 26" descr="Lapland University of Applied Sciences gets a new logo">
              <a:extLst>
                <a:ext uri="{FF2B5EF4-FFF2-40B4-BE49-F238E27FC236}">
                  <a16:creationId xmlns:a16="http://schemas.microsoft.com/office/drawing/2014/main" id="{2188AC42-67B8-9388-D5ED-366DD72ED0A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31" t="19249" r="8230" b="26365"/>
            <a:stretch/>
          </p:blipFill>
          <p:spPr bwMode="auto">
            <a:xfrm>
              <a:off x="4029780" y="2105259"/>
              <a:ext cx="906937" cy="2322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9" name="Picture 32">
              <a:extLst>
                <a:ext uri="{FF2B5EF4-FFF2-40B4-BE49-F238E27FC236}">
                  <a16:creationId xmlns:a16="http://schemas.microsoft.com/office/drawing/2014/main" id="{9E2D09BC-7FBC-1E63-B446-6AE91A33BC3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36" t="14410" r="4265" b="14418"/>
            <a:stretch/>
          </p:blipFill>
          <p:spPr bwMode="auto">
            <a:xfrm>
              <a:off x="3850065" y="2387798"/>
              <a:ext cx="1086652" cy="264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0" name="Picture 34" descr="Logo, Photos and Brochure of the University of Turku | University of Turku">
              <a:extLst>
                <a:ext uri="{FF2B5EF4-FFF2-40B4-BE49-F238E27FC236}">
                  <a16:creationId xmlns:a16="http://schemas.microsoft.com/office/drawing/2014/main" id="{4A674277-17FF-1A88-2DD9-2F13043DB66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45" t="18894" r="8373" b="14054"/>
            <a:stretch/>
          </p:blipFill>
          <p:spPr bwMode="auto">
            <a:xfrm>
              <a:off x="3072507" y="2456030"/>
              <a:ext cx="741143" cy="252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1" name="Picture 36" descr="Nokia New Logo 2023 PNG Vector Vector Logo - Download Free SVG Icon |  Worldvectorlogo">
              <a:extLst>
                <a:ext uri="{FF2B5EF4-FFF2-40B4-BE49-F238E27FC236}">
                  <a16:creationId xmlns:a16="http://schemas.microsoft.com/office/drawing/2014/main" id="{F4972995-4494-2AA3-42CA-3CF7E4599E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0822" y="3326181"/>
              <a:ext cx="917325" cy="2137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6" name="Picture 38" descr="Download Konecranes Logo in SVG Vector or PNG File Format - Logo.wine">
              <a:extLst>
                <a:ext uri="{FF2B5EF4-FFF2-40B4-BE49-F238E27FC236}">
                  <a16:creationId xmlns:a16="http://schemas.microsoft.com/office/drawing/2014/main" id="{D768DFE0-5B2C-D049-0401-8D15D89D874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07" t="39682" r="11549" b="38290"/>
            <a:stretch/>
          </p:blipFill>
          <p:spPr bwMode="auto">
            <a:xfrm>
              <a:off x="6573676" y="4042742"/>
              <a:ext cx="886494" cy="1638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7" name="Picture 256">
              <a:extLst>
                <a:ext uri="{FF2B5EF4-FFF2-40B4-BE49-F238E27FC236}">
                  <a16:creationId xmlns:a16="http://schemas.microsoft.com/office/drawing/2014/main" id="{BE812FD2-D562-9E4E-A2C7-70BE86BE1B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6760008" y="4318844"/>
              <a:ext cx="544351" cy="211692"/>
            </a:xfrm>
            <a:prstGeom prst="rect">
              <a:avLst/>
            </a:prstGeom>
          </p:spPr>
        </p:pic>
        <p:pic>
          <p:nvPicPr>
            <p:cNvPr id="258" name="Picture 44">
              <a:extLst>
                <a:ext uri="{FF2B5EF4-FFF2-40B4-BE49-F238E27FC236}">
                  <a16:creationId xmlns:a16="http://schemas.microsoft.com/office/drawing/2014/main" id="{88E0DC23-7335-89EF-E686-D0347608D1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55059" y="3682134"/>
              <a:ext cx="614003" cy="185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523FE8AF-2CE8-8368-1F04-728A10CFA303}"/>
              </a:ext>
            </a:extLst>
          </p:cNvPr>
          <p:cNvGrpSpPr/>
          <p:nvPr/>
        </p:nvGrpSpPr>
        <p:grpSpPr>
          <a:xfrm>
            <a:off x="3665100" y="3678264"/>
            <a:ext cx="2160000" cy="2124821"/>
            <a:chOff x="3665100" y="3678264"/>
            <a:chExt cx="2160000" cy="2124821"/>
          </a:xfrm>
        </p:grpSpPr>
        <p:sp>
          <p:nvSpPr>
            <p:cNvPr id="260" name="Partial Circle 8">
              <a:extLst>
                <a:ext uri="{FF2B5EF4-FFF2-40B4-BE49-F238E27FC236}">
                  <a16:creationId xmlns:a16="http://schemas.microsoft.com/office/drawing/2014/main" id="{63459ADC-3D28-86E7-A9D4-E810A362617E}"/>
                </a:ext>
              </a:extLst>
            </p:cNvPr>
            <p:cNvSpPr/>
            <p:nvPr/>
          </p:nvSpPr>
          <p:spPr>
            <a:xfrm rot="10800000">
              <a:off x="3665100" y="3678264"/>
              <a:ext cx="2160000" cy="2124821"/>
            </a:xfrm>
            <a:prstGeom prst="pie">
              <a:avLst>
                <a:gd name="adj1" fmla="val 14069"/>
                <a:gd name="adj2" fmla="val 10812955"/>
              </a:avLst>
            </a:prstGeom>
            <a:solidFill>
              <a:schemeClr val="accent6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24191">
                    <a:lumMod val="100000"/>
                  </a:srgbClr>
                </a:buClr>
                <a:buSzPct val="100000"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04F9C723-14FA-19AE-39B0-141482620C9F}"/>
                </a:ext>
              </a:extLst>
            </p:cNvPr>
            <p:cNvSpPr/>
            <p:nvPr/>
          </p:nvSpPr>
          <p:spPr>
            <a:xfrm>
              <a:off x="4200268" y="3830734"/>
              <a:ext cx="1399142" cy="57287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5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2016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standing in front of a screen&#10;&#10;Description automatically generated">
            <a:extLst>
              <a:ext uri="{FF2B5EF4-FFF2-40B4-BE49-F238E27FC236}">
                <a16:creationId xmlns:a16="http://schemas.microsoft.com/office/drawing/2014/main" id="{EC537333-89E4-E1DA-11F7-264E25EF5CA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60" r="32424"/>
          <a:stretch/>
        </p:blipFill>
        <p:spPr>
          <a:xfrm>
            <a:off x="6196543" y="1059244"/>
            <a:ext cx="2720516" cy="3999398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Picture 7" descr="A person giving a child a haircut&#10;&#10;Description automatically generated">
            <a:extLst>
              <a:ext uri="{FF2B5EF4-FFF2-40B4-BE49-F238E27FC236}">
                <a16:creationId xmlns:a16="http://schemas.microsoft.com/office/drawing/2014/main" id="{10493623-7E6A-D61A-4343-64E57B71954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92" r="30004"/>
          <a:stretch/>
        </p:blipFill>
        <p:spPr>
          <a:xfrm>
            <a:off x="477926" y="2102760"/>
            <a:ext cx="2143750" cy="2955882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8" descr="A child holding a microphone&#10;&#10;Description automatically generated">
            <a:extLst>
              <a:ext uri="{FF2B5EF4-FFF2-40B4-BE49-F238E27FC236}">
                <a16:creationId xmlns:a16="http://schemas.microsoft.com/office/drawing/2014/main" id="{9F63C4F2-56EC-36C1-7728-C87D0A8F979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2" t="7623" b="11913"/>
          <a:stretch/>
        </p:blipFill>
        <p:spPr>
          <a:xfrm rot="5400000">
            <a:off x="2752245" y="2304320"/>
            <a:ext cx="3313729" cy="2194914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AA874897-375C-A600-1DB3-336FB1818C29}"/>
              </a:ext>
            </a:extLst>
          </p:cNvPr>
          <p:cNvSpPr txBox="1">
            <a:spLocks/>
          </p:cNvSpPr>
          <p:nvPr/>
        </p:nvSpPr>
        <p:spPr>
          <a:xfrm>
            <a:off x="417600" y="306959"/>
            <a:ext cx="8308800" cy="1082512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4400" b="1" dirty="0">
                <a:solidFill>
                  <a:schemeClr val="bg1"/>
                </a:solidFill>
                <a:latin typeface="Nokia Pure Headline Ultra Light" panose="020B0204020202020204" pitchFamily="34" charset="0"/>
              </a:rPr>
              <a:t>Connecting the dot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chemeClr val="bg1"/>
                </a:solidFill>
                <a:latin typeface="Nokia Pure Headline Ultra Light" panose="020B0204020202020204" pitchFamily="34" charset="0"/>
              </a:rPr>
              <a:t>Early experiences shaped my vision for 5G in educatio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>
              <a:solidFill>
                <a:schemeClr val="bg1"/>
              </a:solidFill>
              <a:latin typeface="Nokia Pure Headline Ultra Light" panose="020B02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793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AC037D-07EE-9EDF-AEE0-3F987678D9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224145"/>
            <a:ext cx="8607384" cy="340654"/>
          </a:xfrm>
        </p:spPr>
        <p:txBody>
          <a:bodyPr/>
          <a:lstStyle/>
          <a:p>
            <a:r>
              <a:rPr lang="en-US" sz="3000" dirty="0">
                <a:solidFill>
                  <a:schemeClr val="bg1"/>
                </a:solidFill>
                <a:latin typeface="+mj-lt"/>
              </a:rPr>
              <a:t>Leveraging 5G for the next generation of universities and workforc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64B680D-B655-C852-BF44-7F8A9B145FF7}"/>
              </a:ext>
            </a:extLst>
          </p:cNvPr>
          <p:cNvGrpSpPr/>
          <p:nvPr/>
        </p:nvGrpSpPr>
        <p:grpSpPr>
          <a:xfrm>
            <a:off x="2885552" y="1593678"/>
            <a:ext cx="1296275" cy="1655114"/>
            <a:chOff x="4721751" y="2364934"/>
            <a:chExt cx="932970" cy="1327172"/>
          </a:xfrm>
          <a:solidFill>
            <a:schemeClr val="accent5"/>
          </a:solidFill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A012B049-CE92-E2B9-0E4F-04DD7A8AED35}"/>
                </a:ext>
              </a:extLst>
            </p:cNvPr>
            <p:cNvCxnSpPr>
              <a:cxnSpLocks/>
            </p:cNvCxnSpPr>
            <p:nvPr/>
          </p:nvCxnSpPr>
          <p:spPr>
            <a:xfrm>
              <a:off x="5188236" y="3286876"/>
              <a:ext cx="0" cy="405230"/>
            </a:xfrm>
            <a:prstGeom prst="line">
              <a:avLst/>
            </a:prstGeom>
            <a:grpFill/>
            <a:ln w="22225" cap="rnd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Freeform 364">
              <a:extLst>
                <a:ext uri="{FF2B5EF4-FFF2-40B4-BE49-F238E27FC236}">
                  <a16:creationId xmlns:a16="http://schemas.microsoft.com/office/drawing/2014/main" id="{BBC224AA-BDEC-7FC2-6AAA-A7236723C1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751" y="2364934"/>
              <a:ext cx="932970" cy="929457"/>
            </a:xfrm>
            <a:custGeom>
              <a:avLst/>
              <a:gdLst>
                <a:gd name="T0" fmla="*/ 141202076 w 2341"/>
                <a:gd name="T1" fmla="*/ 296848680 h 2333"/>
                <a:gd name="T2" fmla="*/ 141202076 w 2341"/>
                <a:gd name="T3" fmla="*/ 296848680 h 2333"/>
                <a:gd name="T4" fmla="*/ 5316314 w 2341"/>
                <a:gd name="T5" fmla="*/ 161187102 h 2333"/>
                <a:gd name="T6" fmla="*/ 5316314 w 2341"/>
                <a:gd name="T7" fmla="*/ 141103462 h 2333"/>
                <a:gd name="T8" fmla="*/ 141202076 w 2341"/>
                <a:gd name="T9" fmla="*/ 5312298 h 2333"/>
                <a:gd name="T10" fmla="*/ 162336981 w 2341"/>
                <a:gd name="T11" fmla="*/ 5312298 h 2333"/>
                <a:gd name="T12" fmla="*/ 297185695 w 2341"/>
                <a:gd name="T13" fmla="*/ 141103462 h 2333"/>
                <a:gd name="T14" fmla="*/ 297185695 w 2341"/>
                <a:gd name="T15" fmla="*/ 161187102 h 2333"/>
                <a:gd name="T16" fmla="*/ 162336981 w 2341"/>
                <a:gd name="T17" fmla="*/ 296848680 h 2333"/>
                <a:gd name="T18" fmla="*/ 141202076 w 2341"/>
                <a:gd name="T19" fmla="*/ 296848680 h 23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341" h="2333">
                  <a:moveTo>
                    <a:pt x="1089" y="2291"/>
                  </a:moveTo>
                  <a:lnTo>
                    <a:pt x="1089" y="2291"/>
                  </a:lnTo>
                  <a:cubicBezTo>
                    <a:pt x="41" y="1244"/>
                    <a:pt x="41" y="1244"/>
                    <a:pt x="41" y="1244"/>
                  </a:cubicBezTo>
                  <a:cubicBezTo>
                    <a:pt x="0" y="1203"/>
                    <a:pt x="0" y="1130"/>
                    <a:pt x="41" y="1089"/>
                  </a:cubicBezTo>
                  <a:cubicBezTo>
                    <a:pt x="1089" y="41"/>
                    <a:pt x="1089" y="41"/>
                    <a:pt x="1089" y="41"/>
                  </a:cubicBezTo>
                  <a:cubicBezTo>
                    <a:pt x="1130" y="0"/>
                    <a:pt x="1203" y="0"/>
                    <a:pt x="1252" y="41"/>
                  </a:cubicBezTo>
                  <a:cubicBezTo>
                    <a:pt x="2292" y="1089"/>
                    <a:pt x="2292" y="1089"/>
                    <a:pt x="2292" y="1089"/>
                  </a:cubicBezTo>
                  <a:cubicBezTo>
                    <a:pt x="2340" y="1130"/>
                    <a:pt x="2340" y="1203"/>
                    <a:pt x="2292" y="1244"/>
                  </a:cubicBezTo>
                  <a:cubicBezTo>
                    <a:pt x="1252" y="2291"/>
                    <a:pt x="1252" y="2291"/>
                    <a:pt x="1252" y="2291"/>
                  </a:cubicBezTo>
                  <a:cubicBezTo>
                    <a:pt x="1203" y="2332"/>
                    <a:pt x="1130" y="2332"/>
                    <a:pt x="1089" y="2291"/>
                  </a:cubicBezTo>
                </a:path>
              </a:pathLst>
            </a:custGeom>
            <a:grpFill/>
            <a:ln w="22225" cap="flat">
              <a:solidFill>
                <a:schemeClr val="accent3">
                  <a:lumMod val="20000"/>
                  <a:lumOff val="80000"/>
                </a:schemeClr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685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36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5G</a:t>
              </a:r>
            </a:p>
          </p:txBody>
        </p:sp>
      </p:grpSp>
      <p:sp>
        <p:nvSpPr>
          <p:cNvPr id="9" name="CuadroTexto 395">
            <a:extLst>
              <a:ext uri="{FF2B5EF4-FFF2-40B4-BE49-F238E27FC236}">
                <a16:creationId xmlns:a16="http://schemas.microsoft.com/office/drawing/2014/main" id="{03C9A07F-BA60-C87E-5D7C-2B0010217353}"/>
              </a:ext>
            </a:extLst>
          </p:cNvPr>
          <p:cNvSpPr txBox="1"/>
          <p:nvPr/>
        </p:nvSpPr>
        <p:spPr>
          <a:xfrm>
            <a:off x="5226827" y="3531180"/>
            <a:ext cx="14922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dustry 4.0</a:t>
            </a:r>
          </a:p>
        </p:txBody>
      </p:sp>
      <p:sp>
        <p:nvSpPr>
          <p:cNvPr id="10" name="CuadroTexto 395">
            <a:extLst>
              <a:ext uri="{FF2B5EF4-FFF2-40B4-BE49-F238E27FC236}">
                <a16:creationId xmlns:a16="http://schemas.microsoft.com/office/drawing/2014/main" id="{FCD89D5A-A997-EFDA-9A6F-AD3ECFB9EA4F}"/>
              </a:ext>
            </a:extLst>
          </p:cNvPr>
          <p:cNvSpPr txBox="1"/>
          <p:nvPr/>
        </p:nvSpPr>
        <p:spPr>
          <a:xfrm>
            <a:off x="7444528" y="3543293"/>
            <a:ext cx="12553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+mj-lt"/>
              </a:rPr>
              <a:t>Labor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rPr>
              <a:t>4.0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005DFBE-A622-A342-8DF6-9B5257BC9250}"/>
              </a:ext>
            </a:extLst>
          </p:cNvPr>
          <p:cNvGrpSpPr/>
          <p:nvPr/>
        </p:nvGrpSpPr>
        <p:grpSpPr>
          <a:xfrm>
            <a:off x="5186107" y="1593678"/>
            <a:ext cx="1296275" cy="1655114"/>
            <a:chOff x="5186107" y="1593678"/>
            <a:chExt cx="1296275" cy="165511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FE697DE-BE66-9DF8-8959-F8D1F8DBF30D}"/>
                </a:ext>
              </a:extLst>
            </p:cNvPr>
            <p:cNvCxnSpPr>
              <a:cxnSpLocks/>
            </p:cNvCxnSpPr>
            <p:nvPr/>
          </p:nvCxnSpPr>
          <p:spPr>
            <a:xfrm>
              <a:off x="5834245" y="2743430"/>
              <a:ext cx="0" cy="505362"/>
            </a:xfrm>
            <a:prstGeom prst="line">
              <a:avLst/>
            </a:prstGeom>
            <a:solidFill>
              <a:schemeClr val="accent3"/>
            </a:solidFill>
            <a:ln w="22225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Freeform 364">
              <a:extLst>
                <a:ext uri="{FF2B5EF4-FFF2-40B4-BE49-F238E27FC236}">
                  <a16:creationId xmlns:a16="http://schemas.microsoft.com/office/drawing/2014/main" id="{54FEA058-CA8E-96AB-5DCF-44692C3DF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6107" y="1593678"/>
              <a:ext cx="1296275" cy="1159124"/>
            </a:xfrm>
            <a:custGeom>
              <a:avLst/>
              <a:gdLst>
                <a:gd name="T0" fmla="*/ 141202076 w 2341"/>
                <a:gd name="T1" fmla="*/ 296848680 h 2333"/>
                <a:gd name="T2" fmla="*/ 141202076 w 2341"/>
                <a:gd name="T3" fmla="*/ 296848680 h 2333"/>
                <a:gd name="T4" fmla="*/ 5316314 w 2341"/>
                <a:gd name="T5" fmla="*/ 161187102 h 2333"/>
                <a:gd name="T6" fmla="*/ 5316314 w 2341"/>
                <a:gd name="T7" fmla="*/ 141103462 h 2333"/>
                <a:gd name="T8" fmla="*/ 141202076 w 2341"/>
                <a:gd name="T9" fmla="*/ 5312298 h 2333"/>
                <a:gd name="T10" fmla="*/ 162336981 w 2341"/>
                <a:gd name="T11" fmla="*/ 5312298 h 2333"/>
                <a:gd name="T12" fmla="*/ 297185695 w 2341"/>
                <a:gd name="T13" fmla="*/ 141103462 h 2333"/>
                <a:gd name="T14" fmla="*/ 297185695 w 2341"/>
                <a:gd name="T15" fmla="*/ 161187102 h 2333"/>
                <a:gd name="T16" fmla="*/ 162336981 w 2341"/>
                <a:gd name="T17" fmla="*/ 296848680 h 2333"/>
                <a:gd name="T18" fmla="*/ 141202076 w 2341"/>
                <a:gd name="T19" fmla="*/ 296848680 h 23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341" h="2333">
                  <a:moveTo>
                    <a:pt x="1089" y="2291"/>
                  </a:moveTo>
                  <a:lnTo>
                    <a:pt x="1089" y="2291"/>
                  </a:lnTo>
                  <a:cubicBezTo>
                    <a:pt x="41" y="1244"/>
                    <a:pt x="41" y="1244"/>
                    <a:pt x="41" y="1244"/>
                  </a:cubicBezTo>
                  <a:cubicBezTo>
                    <a:pt x="0" y="1203"/>
                    <a:pt x="0" y="1130"/>
                    <a:pt x="41" y="1089"/>
                  </a:cubicBezTo>
                  <a:cubicBezTo>
                    <a:pt x="1089" y="41"/>
                    <a:pt x="1089" y="41"/>
                    <a:pt x="1089" y="41"/>
                  </a:cubicBezTo>
                  <a:cubicBezTo>
                    <a:pt x="1130" y="0"/>
                    <a:pt x="1203" y="0"/>
                    <a:pt x="1252" y="41"/>
                  </a:cubicBezTo>
                  <a:cubicBezTo>
                    <a:pt x="2292" y="1089"/>
                    <a:pt x="2292" y="1089"/>
                    <a:pt x="2292" y="1089"/>
                  </a:cubicBezTo>
                  <a:cubicBezTo>
                    <a:pt x="2340" y="1130"/>
                    <a:pt x="2340" y="1203"/>
                    <a:pt x="2292" y="1244"/>
                  </a:cubicBezTo>
                  <a:cubicBezTo>
                    <a:pt x="1252" y="2291"/>
                    <a:pt x="1252" y="2291"/>
                    <a:pt x="1252" y="2291"/>
                  </a:cubicBezTo>
                  <a:cubicBezTo>
                    <a:pt x="1203" y="2332"/>
                    <a:pt x="1130" y="2332"/>
                    <a:pt x="1089" y="2291"/>
                  </a:cubicBezTo>
                </a:path>
              </a:pathLst>
            </a:custGeom>
            <a:solidFill>
              <a:schemeClr val="accent3"/>
            </a:solidFill>
            <a:ln w="22225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685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pic>
          <p:nvPicPr>
            <p:cNvPr id="14" name="Graphic 13" descr="Robot Hand outline">
              <a:extLst>
                <a:ext uri="{FF2B5EF4-FFF2-40B4-BE49-F238E27FC236}">
                  <a16:creationId xmlns:a16="http://schemas.microsoft.com/office/drawing/2014/main" id="{037A6C9C-F39A-5708-173F-F1D761A46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538950" y="1786334"/>
              <a:ext cx="794792" cy="754409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25C254C-312F-0560-54EC-97780AB86A43}"/>
              </a:ext>
            </a:extLst>
          </p:cNvPr>
          <p:cNvGrpSpPr/>
          <p:nvPr/>
        </p:nvGrpSpPr>
        <p:grpSpPr>
          <a:xfrm>
            <a:off x="7486661" y="1593678"/>
            <a:ext cx="1296275" cy="1655114"/>
            <a:chOff x="8056659" y="601262"/>
            <a:chExt cx="932970" cy="125500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3329793-C658-EFA7-F746-D76F16DEED98}"/>
                </a:ext>
              </a:extLst>
            </p:cNvPr>
            <p:cNvCxnSpPr>
              <a:cxnSpLocks/>
            </p:cNvCxnSpPr>
            <p:nvPr/>
          </p:nvCxnSpPr>
          <p:spPr>
            <a:xfrm>
              <a:off x="8523144" y="1473072"/>
              <a:ext cx="0" cy="383195"/>
            </a:xfrm>
            <a:prstGeom prst="line">
              <a:avLst/>
            </a:prstGeom>
            <a:solidFill>
              <a:schemeClr val="accent4"/>
            </a:solidFill>
            <a:ln w="22225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Freeform 364">
              <a:extLst>
                <a:ext uri="{FF2B5EF4-FFF2-40B4-BE49-F238E27FC236}">
                  <a16:creationId xmlns:a16="http://schemas.microsoft.com/office/drawing/2014/main" id="{1C805D38-461A-DDA7-AF1C-66F7DC3F9D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6659" y="601262"/>
              <a:ext cx="932970" cy="878916"/>
            </a:xfrm>
            <a:custGeom>
              <a:avLst/>
              <a:gdLst>
                <a:gd name="T0" fmla="*/ 141202076 w 2341"/>
                <a:gd name="T1" fmla="*/ 296848680 h 2333"/>
                <a:gd name="T2" fmla="*/ 141202076 w 2341"/>
                <a:gd name="T3" fmla="*/ 296848680 h 2333"/>
                <a:gd name="T4" fmla="*/ 5316314 w 2341"/>
                <a:gd name="T5" fmla="*/ 161187102 h 2333"/>
                <a:gd name="T6" fmla="*/ 5316314 w 2341"/>
                <a:gd name="T7" fmla="*/ 141103462 h 2333"/>
                <a:gd name="T8" fmla="*/ 141202076 w 2341"/>
                <a:gd name="T9" fmla="*/ 5312298 h 2333"/>
                <a:gd name="T10" fmla="*/ 162336981 w 2341"/>
                <a:gd name="T11" fmla="*/ 5312298 h 2333"/>
                <a:gd name="T12" fmla="*/ 297185695 w 2341"/>
                <a:gd name="T13" fmla="*/ 141103462 h 2333"/>
                <a:gd name="T14" fmla="*/ 297185695 w 2341"/>
                <a:gd name="T15" fmla="*/ 161187102 h 2333"/>
                <a:gd name="T16" fmla="*/ 162336981 w 2341"/>
                <a:gd name="T17" fmla="*/ 296848680 h 2333"/>
                <a:gd name="T18" fmla="*/ 141202076 w 2341"/>
                <a:gd name="T19" fmla="*/ 296848680 h 23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341" h="2333">
                  <a:moveTo>
                    <a:pt x="1089" y="2291"/>
                  </a:moveTo>
                  <a:lnTo>
                    <a:pt x="1089" y="2291"/>
                  </a:lnTo>
                  <a:cubicBezTo>
                    <a:pt x="41" y="1244"/>
                    <a:pt x="41" y="1244"/>
                    <a:pt x="41" y="1244"/>
                  </a:cubicBezTo>
                  <a:cubicBezTo>
                    <a:pt x="0" y="1203"/>
                    <a:pt x="0" y="1130"/>
                    <a:pt x="41" y="1089"/>
                  </a:cubicBezTo>
                  <a:cubicBezTo>
                    <a:pt x="1089" y="41"/>
                    <a:pt x="1089" y="41"/>
                    <a:pt x="1089" y="41"/>
                  </a:cubicBezTo>
                  <a:cubicBezTo>
                    <a:pt x="1130" y="0"/>
                    <a:pt x="1203" y="0"/>
                    <a:pt x="1252" y="41"/>
                  </a:cubicBezTo>
                  <a:cubicBezTo>
                    <a:pt x="2292" y="1089"/>
                    <a:pt x="2292" y="1089"/>
                    <a:pt x="2292" y="1089"/>
                  </a:cubicBezTo>
                  <a:cubicBezTo>
                    <a:pt x="2340" y="1130"/>
                    <a:pt x="2340" y="1203"/>
                    <a:pt x="2292" y="1244"/>
                  </a:cubicBezTo>
                  <a:cubicBezTo>
                    <a:pt x="1252" y="2291"/>
                    <a:pt x="1252" y="2291"/>
                    <a:pt x="1252" y="2291"/>
                  </a:cubicBezTo>
                  <a:cubicBezTo>
                    <a:pt x="1203" y="2332"/>
                    <a:pt x="1130" y="2332"/>
                    <a:pt x="1089" y="2291"/>
                  </a:cubicBezTo>
                </a:path>
              </a:pathLst>
            </a:custGeom>
            <a:solidFill>
              <a:schemeClr val="accent4"/>
            </a:solidFill>
            <a:ln w="22225" cap="flat">
              <a:solidFill>
                <a:schemeClr val="bg1"/>
              </a:solidFill>
              <a:bevel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ctr" defTabSz="685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pic>
          <p:nvPicPr>
            <p:cNvPr id="18" name="Graphic 17" descr="Graduation cap outline">
              <a:extLst>
                <a:ext uri="{FF2B5EF4-FFF2-40B4-BE49-F238E27FC236}">
                  <a16:creationId xmlns:a16="http://schemas.microsoft.com/office/drawing/2014/main" id="{5CD2FCFB-C5B0-837A-2248-83840C8AF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182292" y="648452"/>
              <a:ext cx="682301" cy="682301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0CCB527-9A87-3CB5-B554-7E3B1C8C72FC}"/>
              </a:ext>
            </a:extLst>
          </p:cNvPr>
          <p:cNvGrpSpPr/>
          <p:nvPr/>
        </p:nvGrpSpPr>
        <p:grpSpPr>
          <a:xfrm>
            <a:off x="617071" y="1689002"/>
            <a:ext cx="1296275" cy="1655114"/>
            <a:chOff x="536721" y="796830"/>
            <a:chExt cx="932970" cy="1255005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DEDEFEF-1F0F-84D4-3BC4-748E499FD7D2}"/>
                </a:ext>
              </a:extLst>
            </p:cNvPr>
            <p:cNvGrpSpPr/>
            <p:nvPr/>
          </p:nvGrpSpPr>
          <p:grpSpPr>
            <a:xfrm>
              <a:off x="536721" y="796830"/>
              <a:ext cx="932970" cy="1255005"/>
              <a:chOff x="4721751" y="2364934"/>
              <a:chExt cx="932970" cy="1327172"/>
            </a:xfrm>
            <a:solidFill>
              <a:schemeClr val="accent5"/>
            </a:solidFill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1551B650-C9F1-C8F7-1A4F-E23B454336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88236" y="3286876"/>
                <a:ext cx="0" cy="405230"/>
              </a:xfrm>
              <a:prstGeom prst="line">
                <a:avLst/>
              </a:prstGeom>
              <a:grpFill/>
              <a:ln w="22225" cap="rnd">
                <a:solidFill>
                  <a:schemeClr val="accent3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Freeform 364">
                <a:extLst>
                  <a:ext uri="{FF2B5EF4-FFF2-40B4-BE49-F238E27FC236}">
                    <a16:creationId xmlns:a16="http://schemas.microsoft.com/office/drawing/2014/main" id="{E12E302E-E469-9477-FE34-2B21686D82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1751" y="2364934"/>
                <a:ext cx="932970" cy="929457"/>
              </a:xfrm>
              <a:custGeom>
                <a:avLst/>
                <a:gdLst>
                  <a:gd name="T0" fmla="*/ 141202076 w 2341"/>
                  <a:gd name="T1" fmla="*/ 296848680 h 2333"/>
                  <a:gd name="T2" fmla="*/ 141202076 w 2341"/>
                  <a:gd name="T3" fmla="*/ 296848680 h 2333"/>
                  <a:gd name="T4" fmla="*/ 5316314 w 2341"/>
                  <a:gd name="T5" fmla="*/ 161187102 h 2333"/>
                  <a:gd name="T6" fmla="*/ 5316314 w 2341"/>
                  <a:gd name="T7" fmla="*/ 141103462 h 2333"/>
                  <a:gd name="T8" fmla="*/ 141202076 w 2341"/>
                  <a:gd name="T9" fmla="*/ 5312298 h 2333"/>
                  <a:gd name="T10" fmla="*/ 162336981 w 2341"/>
                  <a:gd name="T11" fmla="*/ 5312298 h 2333"/>
                  <a:gd name="T12" fmla="*/ 297185695 w 2341"/>
                  <a:gd name="T13" fmla="*/ 141103462 h 2333"/>
                  <a:gd name="T14" fmla="*/ 297185695 w 2341"/>
                  <a:gd name="T15" fmla="*/ 161187102 h 2333"/>
                  <a:gd name="T16" fmla="*/ 162336981 w 2341"/>
                  <a:gd name="T17" fmla="*/ 296848680 h 2333"/>
                  <a:gd name="T18" fmla="*/ 141202076 w 2341"/>
                  <a:gd name="T19" fmla="*/ 296848680 h 233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341" h="2333">
                    <a:moveTo>
                      <a:pt x="1089" y="2291"/>
                    </a:moveTo>
                    <a:lnTo>
                      <a:pt x="1089" y="2291"/>
                    </a:lnTo>
                    <a:cubicBezTo>
                      <a:pt x="41" y="1244"/>
                      <a:pt x="41" y="1244"/>
                      <a:pt x="41" y="1244"/>
                    </a:cubicBezTo>
                    <a:cubicBezTo>
                      <a:pt x="0" y="1203"/>
                      <a:pt x="0" y="1130"/>
                      <a:pt x="41" y="1089"/>
                    </a:cubicBezTo>
                    <a:cubicBezTo>
                      <a:pt x="1089" y="41"/>
                      <a:pt x="1089" y="41"/>
                      <a:pt x="1089" y="41"/>
                    </a:cubicBezTo>
                    <a:cubicBezTo>
                      <a:pt x="1130" y="0"/>
                      <a:pt x="1203" y="0"/>
                      <a:pt x="1252" y="41"/>
                    </a:cubicBezTo>
                    <a:cubicBezTo>
                      <a:pt x="2292" y="1089"/>
                      <a:pt x="2292" y="1089"/>
                      <a:pt x="2292" y="1089"/>
                    </a:cubicBezTo>
                    <a:cubicBezTo>
                      <a:pt x="2340" y="1130"/>
                      <a:pt x="2340" y="1203"/>
                      <a:pt x="2292" y="1244"/>
                    </a:cubicBezTo>
                    <a:cubicBezTo>
                      <a:pt x="1252" y="2291"/>
                      <a:pt x="1252" y="2291"/>
                      <a:pt x="1252" y="2291"/>
                    </a:cubicBezTo>
                    <a:cubicBezTo>
                      <a:pt x="1203" y="2332"/>
                      <a:pt x="1130" y="2332"/>
                      <a:pt x="1089" y="2291"/>
                    </a:cubicBezTo>
                  </a:path>
                </a:pathLst>
              </a:custGeom>
              <a:solidFill>
                <a:schemeClr val="accent1"/>
              </a:solidFill>
              <a:ln w="22225" cap="flat">
                <a:solidFill>
                  <a:schemeClr val="accent3">
                    <a:lumMod val="20000"/>
                    <a:lumOff val="80000"/>
                  </a:schemeClr>
                </a:solidFill>
                <a:bevel/>
                <a:headEnd/>
                <a:tailEnd/>
              </a:ln>
              <a:effectLst/>
            </p:spPr>
            <p:txBody>
              <a:bodyPr wrap="none" anchor="ctr"/>
              <a:lstStyle/>
              <a:p>
                <a:pPr marL="0" marR="0" lvl="0" indent="0" algn="ctr" defTabSz="6856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28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24" name="Freeform 117">
              <a:extLst>
                <a:ext uri="{FF2B5EF4-FFF2-40B4-BE49-F238E27FC236}">
                  <a16:creationId xmlns:a16="http://schemas.microsoft.com/office/drawing/2014/main" id="{842D6FA8-7874-2239-CEA6-FF35158F2623}"/>
                </a:ext>
              </a:extLst>
            </p:cNvPr>
            <p:cNvSpPr/>
            <p:nvPr/>
          </p:nvSpPr>
          <p:spPr>
            <a:xfrm>
              <a:off x="706928" y="1004355"/>
              <a:ext cx="586424" cy="409917"/>
            </a:xfrm>
            <a:custGeom>
              <a:avLst/>
              <a:gdLst>
                <a:gd name="connsiteX0" fmla="*/ 762953 w 762952"/>
                <a:gd name="connsiteY0" fmla="*/ 416243 h 555427"/>
                <a:gd name="connsiteX1" fmla="*/ 762953 w 762952"/>
                <a:gd name="connsiteY1" fmla="*/ 312420 h 555427"/>
                <a:gd name="connsiteX2" fmla="*/ 0 w 762952"/>
                <a:gd name="connsiteY2" fmla="*/ 416243 h 555427"/>
                <a:gd name="connsiteX3" fmla="*/ 0 w 762952"/>
                <a:gd name="connsiteY3" fmla="*/ 312420 h 555427"/>
                <a:gd name="connsiteX4" fmla="*/ 623888 w 762952"/>
                <a:gd name="connsiteY4" fmla="*/ 69532 h 555427"/>
                <a:gd name="connsiteX5" fmla="*/ 562928 w 762952"/>
                <a:gd name="connsiteY5" fmla="*/ 18098 h 555427"/>
                <a:gd name="connsiteX6" fmla="*/ 485775 w 762952"/>
                <a:gd name="connsiteY6" fmla="*/ 0 h 555427"/>
                <a:gd name="connsiteX7" fmla="*/ 277178 w 762952"/>
                <a:gd name="connsiteY7" fmla="*/ 0 h 555427"/>
                <a:gd name="connsiteX8" fmla="*/ 200025 w 762952"/>
                <a:gd name="connsiteY8" fmla="*/ 18098 h 555427"/>
                <a:gd name="connsiteX9" fmla="*/ 139065 w 762952"/>
                <a:gd name="connsiteY9" fmla="*/ 69532 h 555427"/>
                <a:gd name="connsiteX10" fmla="*/ 543878 w 762952"/>
                <a:gd name="connsiteY10" fmla="*/ 555308 h 555427"/>
                <a:gd name="connsiteX11" fmla="*/ 501967 w 762952"/>
                <a:gd name="connsiteY11" fmla="*/ 541973 h 555427"/>
                <a:gd name="connsiteX12" fmla="*/ 421958 w 762952"/>
                <a:gd name="connsiteY12" fmla="*/ 482918 h 555427"/>
                <a:gd name="connsiteX13" fmla="*/ 380048 w 762952"/>
                <a:gd name="connsiteY13" fmla="*/ 469583 h 555427"/>
                <a:gd name="connsiteX14" fmla="*/ 338138 w 762952"/>
                <a:gd name="connsiteY14" fmla="*/ 482918 h 555427"/>
                <a:gd name="connsiteX15" fmla="*/ 258127 w 762952"/>
                <a:gd name="connsiteY15" fmla="*/ 541973 h 555427"/>
                <a:gd name="connsiteX16" fmla="*/ 216218 w 762952"/>
                <a:gd name="connsiteY16" fmla="*/ 555308 h 555427"/>
                <a:gd name="connsiteX17" fmla="*/ 110490 w 762952"/>
                <a:gd name="connsiteY17" fmla="*/ 555308 h 555427"/>
                <a:gd name="connsiteX18" fmla="*/ 58103 w 762952"/>
                <a:gd name="connsiteY18" fmla="*/ 536258 h 555427"/>
                <a:gd name="connsiteX19" fmla="*/ 34290 w 762952"/>
                <a:gd name="connsiteY19" fmla="*/ 485775 h 555427"/>
                <a:gd name="connsiteX20" fmla="*/ 34290 w 762952"/>
                <a:gd name="connsiteY20" fmla="*/ 271463 h 555427"/>
                <a:gd name="connsiteX21" fmla="*/ 58103 w 762952"/>
                <a:gd name="connsiteY21" fmla="*/ 220028 h 555427"/>
                <a:gd name="connsiteX22" fmla="*/ 110490 w 762952"/>
                <a:gd name="connsiteY22" fmla="*/ 199073 h 555427"/>
                <a:gd name="connsiteX23" fmla="*/ 262890 w 762952"/>
                <a:gd name="connsiteY23" fmla="*/ 184785 h 555427"/>
                <a:gd name="connsiteX24" fmla="*/ 501967 w 762952"/>
                <a:gd name="connsiteY24" fmla="*/ 184785 h 555427"/>
                <a:gd name="connsiteX25" fmla="*/ 651510 w 762952"/>
                <a:gd name="connsiteY25" fmla="*/ 201930 h 555427"/>
                <a:gd name="connsiteX26" fmla="*/ 703898 w 762952"/>
                <a:gd name="connsiteY26" fmla="*/ 220980 h 555427"/>
                <a:gd name="connsiteX27" fmla="*/ 727710 w 762952"/>
                <a:gd name="connsiteY27" fmla="*/ 271463 h 555427"/>
                <a:gd name="connsiteX28" fmla="*/ 727710 w 762952"/>
                <a:gd name="connsiteY28" fmla="*/ 485775 h 555427"/>
                <a:gd name="connsiteX29" fmla="*/ 703898 w 762952"/>
                <a:gd name="connsiteY29" fmla="*/ 536258 h 555427"/>
                <a:gd name="connsiteX30" fmla="*/ 651510 w 762952"/>
                <a:gd name="connsiteY30" fmla="*/ 555308 h 555427"/>
                <a:gd name="connsiteX31" fmla="*/ 543878 w 762952"/>
                <a:gd name="connsiteY31" fmla="*/ 555308 h 555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62952" h="555427">
                  <a:moveTo>
                    <a:pt x="762953" y="416243"/>
                  </a:moveTo>
                  <a:lnTo>
                    <a:pt x="762953" y="312420"/>
                  </a:lnTo>
                  <a:moveTo>
                    <a:pt x="0" y="416243"/>
                  </a:moveTo>
                  <a:lnTo>
                    <a:pt x="0" y="312420"/>
                  </a:lnTo>
                  <a:moveTo>
                    <a:pt x="623888" y="69532"/>
                  </a:moveTo>
                  <a:cubicBezTo>
                    <a:pt x="607695" y="47625"/>
                    <a:pt x="586740" y="30480"/>
                    <a:pt x="562928" y="18098"/>
                  </a:cubicBezTo>
                  <a:cubicBezTo>
                    <a:pt x="539115" y="5715"/>
                    <a:pt x="512445" y="0"/>
                    <a:pt x="485775" y="0"/>
                  </a:cubicBezTo>
                  <a:lnTo>
                    <a:pt x="277178" y="0"/>
                  </a:lnTo>
                  <a:cubicBezTo>
                    <a:pt x="250508" y="0"/>
                    <a:pt x="223838" y="5715"/>
                    <a:pt x="200025" y="18098"/>
                  </a:cubicBezTo>
                  <a:cubicBezTo>
                    <a:pt x="176213" y="30480"/>
                    <a:pt x="155258" y="47625"/>
                    <a:pt x="139065" y="69532"/>
                  </a:cubicBezTo>
                  <a:moveTo>
                    <a:pt x="543878" y="555308"/>
                  </a:moveTo>
                  <a:cubicBezTo>
                    <a:pt x="528638" y="556260"/>
                    <a:pt x="514350" y="551498"/>
                    <a:pt x="501967" y="541973"/>
                  </a:cubicBezTo>
                  <a:lnTo>
                    <a:pt x="421958" y="482918"/>
                  </a:lnTo>
                  <a:cubicBezTo>
                    <a:pt x="409575" y="474345"/>
                    <a:pt x="395288" y="469583"/>
                    <a:pt x="380048" y="469583"/>
                  </a:cubicBezTo>
                  <a:cubicBezTo>
                    <a:pt x="364808" y="469583"/>
                    <a:pt x="350520" y="474345"/>
                    <a:pt x="338138" y="482918"/>
                  </a:cubicBezTo>
                  <a:lnTo>
                    <a:pt x="258127" y="541973"/>
                  </a:lnTo>
                  <a:cubicBezTo>
                    <a:pt x="246698" y="551498"/>
                    <a:pt x="231458" y="556260"/>
                    <a:pt x="216218" y="555308"/>
                  </a:cubicBezTo>
                  <a:lnTo>
                    <a:pt x="110490" y="555308"/>
                  </a:lnTo>
                  <a:cubicBezTo>
                    <a:pt x="91440" y="556260"/>
                    <a:pt x="72390" y="549593"/>
                    <a:pt x="58103" y="536258"/>
                  </a:cubicBezTo>
                  <a:cubicBezTo>
                    <a:pt x="43815" y="522922"/>
                    <a:pt x="35243" y="504825"/>
                    <a:pt x="34290" y="485775"/>
                  </a:cubicBezTo>
                  <a:lnTo>
                    <a:pt x="34290" y="271463"/>
                  </a:lnTo>
                  <a:cubicBezTo>
                    <a:pt x="35243" y="251460"/>
                    <a:pt x="43815" y="233363"/>
                    <a:pt x="58103" y="220028"/>
                  </a:cubicBezTo>
                  <a:cubicBezTo>
                    <a:pt x="72390" y="206693"/>
                    <a:pt x="91440" y="199073"/>
                    <a:pt x="110490" y="199073"/>
                  </a:cubicBezTo>
                  <a:lnTo>
                    <a:pt x="262890" y="184785"/>
                  </a:lnTo>
                  <a:cubicBezTo>
                    <a:pt x="341948" y="174308"/>
                    <a:pt x="422910" y="174308"/>
                    <a:pt x="501967" y="184785"/>
                  </a:cubicBezTo>
                  <a:lnTo>
                    <a:pt x="651510" y="201930"/>
                  </a:lnTo>
                  <a:cubicBezTo>
                    <a:pt x="670560" y="200978"/>
                    <a:pt x="689610" y="207645"/>
                    <a:pt x="703898" y="220980"/>
                  </a:cubicBezTo>
                  <a:cubicBezTo>
                    <a:pt x="718185" y="234315"/>
                    <a:pt x="726758" y="252413"/>
                    <a:pt x="727710" y="271463"/>
                  </a:cubicBezTo>
                  <a:lnTo>
                    <a:pt x="727710" y="485775"/>
                  </a:lnTo>
                  <a:cubicBezTo>
                    <a:pt x="726758" y="504825"/>
                    <a:pt x="718185" y="522922"/>
                    <a:pt x="703898" y="536258"/>
                  </a:cubicBezTo>
                  <a:cubicBezTo>
                    <a:pt x="689610" y="549593"/>
                    <a:pt x="670560" y="556260"/>
                    <a:pt x="651510" y="555308"/>
                  </a:cubicBezTo>
                  <a:lnTo>
                    <a:pt x="543878" y="555308"/>
                  </a:lnTo>
                  <a:close/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2400" b="0" i="0" u="none" strike="noStrike" kern="1200" cap="none" spc="0" normalizeH="0" baseline="0" noProof="0">
                <a:ln>
                  <a:noFill/>
                </a:ln>
                <a:solidFill>
                  <a:srgbClr val="CCCCCC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2854BC8-8AD4-73E7-DF75-E4B949191E6B}"/>
              </a:ext>
            </a:extLst>
          </p:cNvPr>
          <p:cNvSpPr txBox="1"/>
          <p:nvPr/>
        </p:nvSpPr>
        <p:spPr>
          <a:xfrm>
            <a:off x="295488" y="4055395"/>
            <a:ext cx="186064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</a:defRPr>
            </a:lvl1pPr>
          </a:lstStyle>
          <a:p>
            <a:pPr>
              <a:spcAft>
                <a:spcPts val="3000"/>
              </a:spcAft>
              <a:defRPr/>
            </a:pPr>
            <a:r>
              <a:rPr lang="en-US" sz="140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E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ducation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 framework aligning with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 I4.0  a hub for R+I+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8" name="CuadroTexto 395">
            <a:extLst>
              <a:ext uri="{FF2B5EF4-FFF2-40B4-BE49-F238E27FC236}">
                <a16:creationId xmlns:a16="http://schemas.microsoft.com/office/drawing/2014/main" id="{43736F47-FD0F-8DD7-B182-E52369BD1323}"/>
              </a:ext>
            </a:extLst>
          </p:cNvPr>
          <p:cNvSpPr txBox="1"/>
          <p:nvPr/>
        </p:nvSpPr>
        <p:spPr>
          <a:xfrm>
            <a:off x="197165" y="3531180"/>
            <a:ext cx="1860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niversity 4.0</a:t>
            </a:r>
          </a:p>
        </p:txBody>
      </p:sp>
      <p:sp>
        <p:nvSpPr>
          <p:cNvPr id="34" name="CuadroTexto 395">
            <a:extLst>
              <a:ext uri="{FF2B5EF4-FFF2-40B4-BE49-F238E27FC236}">
                <a16:creationId xmlns:a16="http://schemas.microsoft.com/office/drawing/2014/main" id="{16FAF195-83B3-F801-F178-FFE1A2DCB817}"/>
              </a:ext>
            </a:extLst>
          </p:cNvPr>
          <p:cNvSpPr txBox="1"/>
          <p:nvPr/>
        </p:nvSpPr>
        <p:spPr>
          <a:xfrm>
            <a:off x="2640706" y="3531180"/>
            <a:ext cx="18606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685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G Technolog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83A11E6-AC1B-79FC-20E8-9ADE12D322DD}"/>
              </a:ext>
            </a:extLst>
          </p:cNvPr>
          <p:cNvSpPr txBox="1"/>
          <p:nvPr/>
        </p:nvSpPr>
        <p:spPr>
          <a:xfrm>
            <a:off x="2726235" y="4093686"/>
            <a:ext cx="186064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</a:defRPr>
            </a:lvl1pPr>
          </a:lstStyle>
          <a:p>
            <a:pPr>
              <a:spcAft>
                <a:spcPts val="3000"/>
              </a:spcAft>
              <a:defRPr/>
            </a:pPr>
            <a:r>
              <a:rPr lang="en-US" sz="14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C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onnectivity that transcend traditional university campus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49CF05-F114-4E77-5D4A-1718C88A5F72}"/>
              </a:ext>
            </a:extLst>
          </p:cNvPr>
          <p:cNvSpPr txBox="1"/>
          <p:nvPr/>
        </p:nvSpPr>
        <p:spPr>
          <a:xfrm>
            <a:off x="5323928" y="4083418"/>
            <a:ext cx="163000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</a:defRPr>
            </a:lvl1pPr>
          </a:lstStyle>
          <a:p>
            <a:pPr>
              <a:buSzPct val="100000"/>
            </a:pPr>
            <a:r>
              <a:rPr lang="en-US" sz="1400" dirty="0">
                <a:solidFill>
                  <a:schemeClr val="bg1"/>
                </a:solidFill>
              </a:rPr>
              <a:t>Practical learning integrated into real industry use case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414AECC-3E8C-B1C4-7F8B-7C8D7F5C9F77}"/>
              </a:ext>
            </a:extLst>
          </p:cNvPr>
          <p:cNvSpPr txBox="1"/>
          <p:nvPr/>
        </p:nvSpPr>
        <p:spPr>
          <a:xfrm>
            <a:off x="7513993" y="4079732"/>
            <a:ext cx="163000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</a:defRPr>
            </a:lvl1pPr>
          </a:lstStyle>
          <a:p>
            <a:r>
              <a:rPr lang="en-US" sz="1400" dirty="0">
                <a:solidFill>
                  <a:schemeClr val="bg1"/>
                </a:solidFill>
              </a:rPr>
              <a:t>Evolving workforce equipped for the future job market.</a:t>
            </a:r>
          </a:p>
        </p:txBody>
      </p:sp>
    </p:spTree>
    <p:extLst>
      <p:ext uri="{BB962C8B-B14F-4D97-AF65-F5344CB8AC3E}">
        <p14:creationId xmlns:p14="http://schemas.microsoft.com/office/powerpoint/2010/main" val="2297387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27" grpId="0"/>
      <p:bldP spid="28" grpId="0"/>
      <p:bldP spid="34" grpId="0"/>
      <p:bldP spid="35" grpId="0"/>
      <p:bldP spid="39" grpId="0"/>
      <p:bldP spid="4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D8E6CE1-22E5-0F8E-550A-7B22A38508AD}"/>
              </a:ext>
            </a:extLst>
          </p:cNvPr>
          <p:cNvSpPr txBox="1">
            <a:spLocks/>
          </p:cNvSpPr>
          <p:nvPr/>
        </p:nvSpPr>
        <p:spPr>
          <a:xfrm>
            <a:off x="342370" y="1079381"/>
            <a:ext cx="8308800" cy="755769"/>
          </a:xfrm>
          <a:prstGeom prst="rect">
            <a:avLst/>
          </a:prstGeom>
        </p:spPr>
        <p:txBody>
          <a:bodyPr l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 panose="020B0304020202020204" pitchFamily="34" charset="0"/>
                <a:ea typeface="+mn-ea"/>
                <a:cs typeface="+mn-cs"/>
              </a:rPr>
              <a:t>Let’s connect!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 panose="020B0304020202020204" pitchFamily="34" charset="0"/>
              <a:ea typeface="+mn-ea"/>
              <a:cs typeface="+mn-cs"/>
            </a:endParaRP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 panose="020B0304020202020204" pitchFamily="34" charset="0"/>
              <a:ea typeface="+mn-ea"/>
              <a:cs typeface="+mn-cs"/>
            </a:endParaRP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 panose="020B0304020202020204" pitchFamily="34" charset="0"/>
                <a:ea typeface="+mn-ea"/>
                <a:cs typeface="+mn-cs"/>
              </a:rPr>
              <a:t>Lorena Gomez Gaviria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 panose="020B0304020202020204" pitchFamily="34" charset="0"/>
                <a:ea typeface="+mn-ea"/>
                <a:cs typeface="+mn-cs"/>
              </a:rPr>
              <a:t>Email: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 panose="020B0304020202020204" pitchFamily="34" charset="0"/>
                <a:ea typeface="+mn-ea"/>
                <a:cs typeface="+mn-cs"/>
              </a:rPr>
              <a:t>lorenagomezgaviria@gmail.co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 panose="020B0304020202020204" pitchFamily="34" charset="0"/>
              <a:ea typeface="+mn-ea"/>
              <a:cs typeface="+mn-cs"/>
            </a:endParaRP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 panose="020B0304020202020204" pitchFamily="34" charset="0"/>
                <a:ea typeface="+mn-ea"/>
                <a:cs typeface="+mn-cs"/>
              </a:rPr>
              <a:t>LinkedI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 panose="020B0304020202020204" pitchFamily="34" charset="0"/>
                <a:ea typeface="+mn-ea"/>
                <a:cs typeface="+mn-cs"/>
              </a:rPr>
              <a:t>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 panose="020B0304020202020204" pitchFamily="34" charset="0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linkedin.com/in/lorena-gomez-gaviri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Headline Light" panose="020B0304020202020204" pitchFamily="34" charset="0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406039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18C9A43-8A66-29BE-AA1A-8E532558CC4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76"/>
          <a:stretch/>
        </p:blipFill>
        <p:spPr>
          <a:xfrm>
            <a:off x="-1" y="1836461"/>
            <a:ext cx="9144001" cy="330703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493959-4BCB-0C0B-66D1-B0EA818F77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7599" y="349855"/>
            <a:ext cx="8308800" cy="1760501"/>
          </a:xfrm>
        </p:spPr>
        <p:txBody>
          <a:bodyPr/>
          <a:lstStyle/>
          <a:p>
            <a:pPr algn="ctr"/>
            <a:r>
              <a:rPr lang="en-US" sz="6000" b="1" dirty="0">
                <a:solidFill>
                  <a:schemeClr val="bg1"/>
                </a:solidFill>
                <a:latin typeface="Nokia Pure Headline Ultra Light" panose="020B0204020202020204" pitchFamily="34" charset="0"/>
              </a:rPr>
              <a:t>University Foundation and Evolution</a:t>
            </a:r>
            <a:endParaRPr lang="en-US" sz="3200" b="1" dirty="0">
              <a:solidFill>
                <a:schemeClr val="bg1"/>
              </a:solidFill>
              <a:latin typeface="Nokia Pure Headline Ultra Light" panose="020B02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3CE663-82FC-2AAD-4D9C-01FDF7549868}"/>
              </a:ext>
            </a:extLst>
          </p:cNvPr>
          <p:cNvSpPr txBox="1">
            <a:spLocks/>
          </p:cNvSpPr>
          <p:nvPr/>
        </p:nvSpPr>
        <p:spPr>
          <a:xfrm>
            <a:off x="2049108" y="3284611"/>
            <a:ext cx="4896000" cy="124446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2800" dirty="0">
              <a:solidFill>
                <a:schemeClr val="bg1"/>
              </a:solidFill>
              <a:latin typeface="Nokia Pure Headline Ultra Light" panose="020B02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2525147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eform 14">
            <a:extLst>
              <a:ext uri="{FF2B5EF4-FFF2-40B4-BE49-F238E27FC236}">
                <a16:creationId xmlns:a16="http://schemas.microsoft.com/office/drawing/2014/main" id="{949EC8CF-74E5-02B3-3762-A783695F1AA7}"/>
              </a:ext>
            </a:extLst>
          </p:cNvPr>
          <p:cNvSpPr/>
          <p:nvPr/>
        </p:nvSpPr>
        <p:spPr>
          <a:xfrm rot="12920705">
            <a:off x="-1100054" y="3301685"/>
            <a:ext cx="2107855" cy="2086689"/>
          </a:xfrm>
          <a:custGeom>
            <a:avLst/>
            <a:gdLst/>
            <a:ahLst/>
            <a:cxnLst/>
            <a:rect l="l" t="t" r="r" b="b"/>
            <a:pathLst>
              <a:path w="8700980" h="8722787">
                <a:moveTo>
                  <a:pt x="0" y="0"/>
                </a:moveTo>
                <a:lnTo>
                  <a:pt x="8700980" y="0"/>
                </a:lnTo>
                <a:lnTo>
                  <a:pt x="8700980" y="8722787"/>
                </a:lnTo>
                <a:lnTo>
                  <a:pt x="0" y="872278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0" name="Freeform 2">
            <a:extLst>
              <a:ext uri="{FF2B5EF4-FFF2-40B4-BE49-F238E27FC236}">
                <a16:creationId xmlns:a16="http://schemas.microsoft.com/office/drawing/2014/main" id="{E3A9299D-FC99-6423-7542-6CC8EF0AF861}"/>
              </a:ext>
            </a:extLst>
          </p:cNvPr>
          <p:cNvSpPr/>
          <p:nvPr/>
        </p:nvSpPr>
        <p:spPr>
          <a:xfrm rot="868116">
            <a:off x="7690012" y="-1045740"/>
            <a:ext cx="2270413" cy="2288955"/>
          </a:xfrm>
          <a:custGeom>
            <a:avLst/>
            <a:gdLst/>
            <a:ahLst/>
            <a:cxnLst/>
            <a:rect l="l" t="t" r="r" b="b"/>
            <a:pathLst>
              <a:path w="8774178" h="8796169">
                <a:moveTo>
                  <a:pt x="0" y="0"/>
                </a:moveTo>
                <a:lnTo>
                  <a:pt x="8774178" y="0"/>
                </a:lnTo>
                <a:lnTo>
                  <a:pt x="8774178" y="8796168"/>
                </a:lnTo>
                <a:lnTo>
                  <a:pt x="0" y="879616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5CC99B7-BEA0-E362-0AC2-650CC22CEA16}"/>
              </a:ext>
            </a:extLst>
          </p:cNvPr>
          <p:cNvGrpSpPr/>
          <p:nvPr/>
        </p:nvGrpSpPr>
        <p:grpSpPr>
          <a:xfrm>
            <a:off x="318782" y="318782"/>
            <a:ext cx="8674216" cy="4362275"/>
            <a:chOff x="377542" y="982180"/>
            <a:chExt cx="9196764" cy="4450428"/>
          </a:xfrm>
        </p:grpSpPr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15C033D4-EDB1-6D9B-65DB-90322D2125F0}"/>
                </a:ext>
              </a:extLst>
            </p:cNvPr>
            <p:cNvCxnSpPr>
              <a:cxnSpLocks/>
              <a:stCxn id="18" idx="1"/>
            </p:cNvCxnSpPr>
            <p:nvPr/>
          </p:nvCxnSpPr>
          <p:spPr>
            <a:xfrm>
              <a:off x="424812" y="4607972"/>
              <a:ext cx="9149494" cy="0"/>
            </a:xfrm>
            <a:prstGeom prst="straightConnector1">
              <a:avLst/>
            </a:prstGeom>
            <a:ln w="127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3A730E6-518E-CDD4-7B9D-876FCCD0C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40770" y="2855575"/>
              <a:ext cx="809850" cy="148792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A2BF62F-D1EA-F7D0-25CA-BAA9BFB70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51414" y="2855575"/>
              <a:ext cx="809850" cy="1487926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CC38D0E-9A2A-5821-3C70-2ACE4306A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95564" y="2855575"/>
              <a:ext cx="809850" cy="148792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254E3FA-6A72-A4F8-F823-9915E545C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39781" y="2855575"/>
              <a:ext cx="809850" cy="1487926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C15007F-9F28-9F35-9734-D0027E2EC7A8}"/>
                </a:ext>
              </a:extLst>
            </p:cNvPr>
            <p:cNvSpPr/>
            <p:nvPr/>
          </p:nvSpPr>
          <p:spPr>
            <a:xfrm>
              <a:off x="7004580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Digital Transformation (21st century)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9D63E11-2990-3E3A-2645-7F2F0EF5C5DA}"/>
                </a:ext>
              </a:extLst>
            </p:cNvPr>
            <p:cNvSpPr/>
            <p:nvPr/>
          </p:nvSpPr>
          <p:spPr>
            <a:xfrm>
              <a:off x="5582235" y="4383727"/>
              <a:ext cx="124123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Information Age (late 20th century - present)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BA22204-7671-62B7-A031-7C9E7D3AC616}"/>
                </a:ext>
              </a:extLst>
            </p:cNvPr>
            <p:cNvSpPr/>
            <p:nvPr/>
          </p:nvSpPr>
          <p:spPr>
            <a:xfrm>
              <a:off x="8293936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Advanced Tech and Innovation (present - future)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13F5468-82CC-820B-728C-E430339E4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61002" y="2855575"/>
              <a:ext cx="809850" cy="1487926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109B324-500D-BF0A-1C40-70E7034016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50358" y="2855575"/>
              <a:ext cx="809850" cy="148792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C7CDE92-8B56-FC7E-5F82-B26BEA875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71647" y="2855575"/>
              <a:ext cx="809850" cy="148792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6249491-83BA-BC56-7510-C29AD26263E0}"/>
                </a:ext>
              </a:extLst>
            </p:cNvPr>
            <p:cNvSpPr/>
            <p:nvPr/>
          </p:nvSpPr>
          <p:spPr>
            <a:xfrm>
              <a:off x="424812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Medieval Foundations (11th - 14th century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A84FB6F-16CC-7961-4809-E42546249C61}"/>
                </a:ext>
              </a:extLst>
            </p:cNvPr>
            <p:cNvSpPr/>
            <p:nvPr/>
          </p:nvSpPr>
          <p:spPr>
            <a:xfrm>
              <a:off x="4292947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Modern Era (20th century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9BD1861-8F39-EB09-0140-7C1834AB6850}"/>
                </a:ext>
              </a:extLst>
            </p:cNvPr>
            <p:cNvSpPr/>
            <p:nvPr/>
          </p:nvSpPr>
          <p:spPr>
            <a:xfrm>
              <a:off x="1714168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Renaissance and Expansion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(15th - 17th century)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51B3332-DD18-97D6-9D1E-7D6E037D3AE1}"/>
                </a:ext>
              </a:extLst>
            </p:cNvPr>
            <p:cNvSpPr/>
            <p:nvPr/>
          </p:nvSpPr>
          <p:spPr>
            <a:xfrm>
              <a:off x="3003524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Industrial Revolution (18th - 19th century)</a:t>
              </a:r>
            </a:p>
          </p:txBody>
        </p:sp>
        <p:sp>
          <p:nvSpPr>
            <p:cNvPr id="22" name="Isosceles Triangle 138">
              <a:extLst>
                <a:ext uri="{FF2B5EF4-FFF2-40B4-BE49-F238E27FC236}">
                  <a16:creationId xmlns:a16="http://schemas.microsoft.com/office/drawing/2014/main" id="{516F8345-7999-B770-7D9C-BE0ECB80546A}"/>
                </a:ext>
              </a:extLst>
            </p:cNvPr>
            <p:cNvSpPr/>
            <p:nvPr/>
          </p:nvSpPr>
          <p:spPr>
            <a:xfrm>
              <a:off x="377542" y="982180"/>
              <a:ext cx="8873078" cy="759446"/>
            </a:xfrm>
            <a:prstGeom prst="triangle">
              <a:avLst>
                <a:gd name="adj" fmla="val 50194"/>
              </a:avLst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tIns="90000" bIns="90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B317D7B-E324-25DF-BAA5-ECE1DA3DF088}"/>
                </a:ext>
              </a:extLst>
            </p:cNvPr>
            <p:cNvSpPr txBox="1"/>
            <p:nvPr/>
          </p:nvSpPr>
          <p:spPr>
            <a:xfrm>
              <a:off x="2550100" y="1299046"/>
              <a:ext cx="4549823" cy="462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University Foundations and Evolution</a:t>
              </a:r>
              <a:endParaRPr kumimoji="0" lang="en-GB" sz="1100" b="0" i="0" u="none" strike="noStrike" kern="0" cap="none" spc="0" normalizeH="0" baseline="0" noProof="0" dirty="0">
                <a:ln w="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outerShdw blurRad="38100" dist="19050" dir="2700000" algn="tl" rotWithShape="0">
                    <a:srgbClr val="124191">
                      <a:alpha val="40000"/>
                    </a:srgbClr>
                  </a:outerShdw>
                </a:effectLst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222132-EFC8-FDB6-81DC-583EA4D03446}"/>
                </a:ext>
              </a:extLst>
            </p:cNvPr>
            <p:cNvSpPr/>
            <p:nvPr/>
          </p:nvSpPr>
          <p:spPr>
            <a:xfrm>
              <a:off x="399405" y="1762478"/>
              <a:ext cx="8851215" cy="240374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rgbClr val="124191"/>
              </a:solidFill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Tracing the journey from medieval roots to the tech-driven futur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70D4E5-0743-22B4-E615-30FA81FD4DB0}"/>
                </a:ext>
              </a:extLst>
            </p:cNvPr>
            <p:cNvSpPr/>
            <p:nvPr/>
          </p:nvSpPr>
          <p:spPr>
            <a:xfrm>
              <a:off x="396377" y="2039551"/>
              <a:ext cx="2303287" cy="311807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Foundation Period 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3D468CE-D48C-181D-736E-4A8FF4DC33D1}"/>
                </a:ext>
              </a:extLst>
            </p:cNvPr>
            <p:cNvSpPr/>
            <p:nvPr/>
          </p:nvSpPr>
          <p:spPr>
            <a:xfrm>
              <a:off x="2819619" y="2039551"/>
              <a:ext cx="2665837" cy="294898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Industrial Age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F17879F-AE96-68B8-4189-C794C4DA0968}"/>
                </a:ext>
              </a:extLst>
            </p:cNvPr>
            <p:cNvSpPr/>
            <p:nvPr/>
          </p:nvSpPr>
          <p:spPr>
            <a:xfrm>
              <a:off x="5599618" y="2033657"/>
              <a:ext cx="3651002" cy="300792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Digital Age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5807FBA-9867-7291-46A6-B6A89EEF4D06}"/>
                </a:ext>
              </a:extLst>
            </p:cNvPr>
            <p:cNvSpPr/>
            <p:nvPr/>
          </p:nvSpPr>
          <p:spPr>
            <a:xfrm>
              <a:off x="426868" y="4869198"/>
              <a:ext cx="8975315" cy="56341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Knowledge-Based on society, industry and technology evolution</a:t>
              </a:r>
            </a:p>
          </p:txBody>
        </p:sp>
        <p:pic>
          <p:nvPicPr>
            <p:cNvPr id="29" name="Picture 10" descr="Free Church SVG, PNG Icon, Symbol. Download Image.">
              <a:extLst>
                <a:ext uri="{FF2B5EF4-FFF2-40B4-BE49-F238E27FC236}">
                  <a16:creationId xmlns:a16="http://schemas.microsoft.com/office/drawing/2014/main" id="{50629E78-3327-02F3-6C00-C1456211BE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37778" y="2446762"/>
              <a:ext cx="461004" cy="466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Graphic 29" descr="Artist male outline">
              <a:extLst>
                <a:ext uri="{FF2B5EF4-FFF2-40B4-BE49-F238E27FC236}">
                  <a16:creationId xmlns:a16="http://schemas.microsoft.com/office/drawing/2014/main" id="{12E55EA8-7D0A-2021-0E80-E51ACEFCD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965706" y="2334449"/>
              <a:ext cx="599592" cy="606613"/>
            </a:xfrm>
            <a:prstGeom prst="rect">
              <a:avLst/>
            </a:prstGeom>
          </p:spPr>
        </p:pic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D26C100-22BD-0B16-F1E8-0C41A2AD036A}"/>
                </a:ext>
              </a:extLst>
            </p:cNvPr>
            <p:cNvSpPr/>
            <p:nvPr/>
          </p:nvSpPr>
          <p:spPr>
            <a:xfrm>
              <a:off x="434514" y="2098090"/>
              <a:ext cx="221446" cy="202595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1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D33F2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36AF230-18B5-EE06-7CD2-3BA3D5B334B5}"/>
                </a:ext>
              </a:extLst>
            </p:cNvPr>
            <p:cNvSpPr/>
            <p:nvPr/>
          </p:nvSpPr>
          <p:spPr>
            <a:xfrm>
              <a:off x="2831633" y="2082755"/>
              <a:ext cx="221446" cy="202595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2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D33F2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CFE28E9-D959-2823-C105-1DFC7850A7BC}"/>
                </a:ext>
              </a:extLst>
            </p:cNvPr>
            <p:cNvSpPr/>
            <p:nvPr/>
          </p:nvSpPr>
          <p:spPr>
            <a:xfrm>
              <a:off x="5835211" y="2087492"/>
              <a:ext cx="221446" cy="202595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3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D33F2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pic>
          <p:nvPicPr>
            <p:cNvPr id="34" name="Graphic 33" descr="Factory outline">
              <a:extLst>
                <a:ext uri="{FF2B5EF4-FFF2-40B4-BE49-F238E27FC236}">
                  <a16:creationId xmlns:a16="http://schemas.microsoft.com/office/drawing/2014/main" id="{F54018B5-534F-DBCC-CAE4-0292231A6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62676" y="2334449"/>
              <a:ext cx="599592" cy="606613"/>
            </a:xfrm>
            <a:prstGeom prst="rect">
              <a:avLst/>
            </a:prstGeom>
          </p:spPr>
        </p:pic>
        <p:pic>
          <p:nvPicPr>
            <p:cNvPr id="35" name="Graphic 34" descr="Globe outline">
              <a:extLst>
                <a:ext uri="{FF2B5EF4-FFF2-40B4-BE49-F238E27FC236}">
                  <a16:creationId xmlns:a16="http://schemas.microsoft.com/office/drawing/2014/main" id="{88186B37-F7EF-4DD2-B5F3-014AD979E7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93645" y="2359477"/>
              <a:ext cx="526938" cy="533108"/>
            </a:xfrm>
            <a:prstGeom prst="rect">
              <a:avLst/>
            </a:prstGeom>
          </p:spPr>
        </p:pic>
        <p:pic>
          <p:nvPicPr>
            <p:cNvPr id="36" name="Graphic 35" descr="Internet outline">
              <a:extLst>
                <a:ext uri="{FF2B5EF4-FFF2-40B4-BE49-F238E27FC236}">
                  <a16:creationId xmlns:a16="http://schemas.microsoft.com/office/drawing/2014/main" id="{DB4BDAAD-BEF2-14D1-7D39-7AD108457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855940" y="2317338"/>
              <a:ext cx="705292" cy="713550"/>
            </a:xfrm>
            <a:prstGeom prst="rect">
              <a:avLst/>
            </a:prstGeom>
          </p:spPr>
        </p:pic>
        <p:pic>
          <p:nvPicPr>
            <p:cNvPr id="37" name="Graphic 36" descr="Robot outline">
              <a:extLst>
                <a:ext uri="{FF2B5EF4-FFF2-40B4-BE49-F238E27FC236}">
                  <a16:creationId xmlns:a16="http://schemas.microsoft.com/office/drawing/2014/main" id="{237E5090-83BF-9901-18C6-383EEFDFE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256543" y="2322330"/>
              <a:ext cx="599592" cy="606613"/>
            </a:xfrm>
            <a:prstGeom prst="rect">
              <a:avLst/>
            </a:prstGeom>
          </p:spPr>
        </p:pic>
        <p:pic>
          <p:nvPicPr>
            <p:cNvPr id="38" name="Graphic 37" descr="Good Idea outline">
              <a:extLst>
                <a:ext uri="{FF2B5EF4-FFF2-40B4-BE49-F238E27FC236}">
                  <a16:creationId xmlns:a16="http://schemas.microsoft.com/office/drawing/2014/main" id="{C445A60C-5B5F-D29F-7771-771A84A51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602989" y="2427448"/>
              <a:ext cx="487620" cy="493330"/>
            </a:xfrm>
            <a:prstGeom prst="rect">
              <a:avLst/>
            </a:prstGeom>
          </p:spPr>
        </p:pic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ED7CAA7D-937B-189C-83F7-51719294A493}"/>
              </a:ext>
            </a:extLst>
          </p:cNvPr>
          <p:cNvSpPr/>
          <p:nvPr/>
        </p:nvSpPr>
        <p:spPr>
          <a:xfrm>
            <a:off x="2607719" y="1338707"/>
            <a:ext cx="6370895" cy="274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624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eform 14">
            <a:extLst>
              <a:ext uri="{FF2B5EF4-FFF2-40B4-BE49-F238E27FC236}">
                <a16:creationId xmlns:a16="http://schemas.microsoft.com/office/drawing/2014/main" id="{949EC8CF-74E5-02B3-3762-A783695F1AA7}"/>
              </a:ext>
            </a:extLst>
          </p:cNvPr>
          <p:cNvSpPr/>
          <p:nvPr/>
        </p:nvSpPr>
        <p:spPr>
          <a:xfrm rot="12920705">
            <a:off x="-1100054" y="3301685"/>
            <a:ext cx="2107855" cy="2086689"/>
          </a:xfrm>
          <a:custGeom>
            <a:avLst/>
            <a:gdLst/>
            <a:ahLst/>
            <a:cxnLst/>
            <a:rect l="l" t="t" r="r" b="b"/>
            <a:pathLst>
              <a:path w="8700980" h="8722787">
                <a:moveTo>
                  <a:pt x="0" y="0"/>
                </a:moveTo>
                <a:lnTo>
                  <a:pt x="8700980" y="0"/>
                </a:lnTo>
                <a:lnTo>
                  <a:pt x="8700980" y="8722787"/>
                </a:lnTo>
                <a:lnTo>
                  <a:pt x="0" y="872278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0" name="Freeform 2">
            <a:extLst>
              <a:ext uri="{FF2B5EF4-FFF2-40B4-BE49-F238E27FC236}">
                <a16:creationId xmlns:a16="http://schemas.microsoft.com/office/drawing/2014/main" id="{E3A9299D-FC99-6423-7542-6CC8EF0AF861}"/>
              </a:ext>
            </a:extLst>
          </p:cNvPr>
          <p:cNvSpPr/>
          <p:nvPr/>
        </p:nvSpPr>
        <p:spPr>
          <a:xfrm rot="868116">
            <a:off x="7690012" y="-1123700"/>
            <a:ext cx="2270413" cy="2288955"/>
          </a:xfrm>
          <a:custGeom>
            <a:avLst/>
            <a:gdLst/>
            <a:ahLst/>
            <a:cxnLst/>
            <a:rect l="l" t="t" r="r" b="b"/>
            <a:pathLst>
              <a:path w="8774178" h="8796169">
                <a:moveTo>
                  <a:pt x="0" y="0"/>
                </a:moveTo>
                <a:lnTo>
                  <a:pt x="8774178" y="0"/>
                </a:lnTo>
                <a:lnTo>
                  <a:pt x="8774178" y="8796168"/>
                </a:lnTo>
                <a:lnTo>
                  <a:pt x="0" y="879616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5CC99B7-BEA0-E362-0AC2-650CC22CEA16}"/>
              </a:ext>
            </a:extLst>
          </p:cNvPr>
          <p:cNvGrpSpPr/>
          <p:nvPr/>
        </p:nvGrpSpPr>
        <p:grpSpPr>
          <a:xfrm>
            <a:off x="318782" y="318782"/>
            <a:ext cx="8674216" cy="4362275"/>
            <a:chOff x="377542" y="982180"/>
            <a:chExt cx="9196764" cy="4450428"/>
          </a:xfrm>
        </p:grpSpPr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15C033D4-EDB1-6D9B-65DB-90322D2125F0}"/>
                </a:ext>
              </a:extLst>
            </p:cNvPr>
            <p:cNvCxnSpPr>
              <a:cxnSpLocks/>
              <a:stCxn id="18" idx="1"/>
            </p:cNvCxnSpPr>
            <p:nvPr/>
          </p:nvCxnSpPr>
          <p:spPr>
            <a:xfrm>
              <a:off x="424812" y="4607972"/>
              <a:ext cx="9149494" cy="0"/>
            </a:xfrm>
            <a:prstGeom prst="straightConnector1">
              <a:avLst/>
            </a:prstGeom>
            <a:ln w="127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3A730E6-518E-CDD4-7B9D-876FCCD0C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40770" y="2855575"/>
              <a:ext cx="809850" cy="148792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A2BF62F-D1EA-F7D0-25CA-BAA9BFB70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51414" y="2855575"/>
              <a:ext cx="809850" cy="1487926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CC38D0E-9A2A-5821-3C70-2ACE4306A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95564" y="2855575"/>
              <a:ext cx="809850" cy="148792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254E3FA-6A72-A4F8-F823-9915E545C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39781" y="2855575"/>
              <a:ext cx="809850" cy="1487926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C15007F-9F28-9F35-9734-D0027E2EC7A8}"/>
                </a:ext>
              </a:extLst>
            </p:cNvPr>
            <p:cNvSpPr/>
            <p:nvPr/>
          </p:nvSpPr>
          <p:spPr>
            <a:xfrm>
              <a:off x="7004580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Digital Transformation (21st century)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9D63E11-2990-3E3A-2645-7F2F0EF5C5DA}"/>
                </a:ext>
              </a:extLst>
            </p:cNvPr>
            <p:cNvSpPr/>
            <p:nvPr/>
          </p:nvSpPr>
          <p:spPr>
            <a:xfrm>
              <a:off x="5582235" y="4383727"/>
              <a:ext cx="124123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Information Age (late 20th century - present)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BA22204-7671-62B7-A031-7C9E7D3AC616}"/>
                </a:ext>
              </a:extLst>
            </p:cNvPr>
            <p:cNvSpPr/>
            <p:nvPr/>
          </p:nvSpPr>
          <p:spPr>
            <a:xfrm>
              <a:off x="8293936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Advanced Tech and Innovation (present - future)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13F5468-82CC-820B-728C-E430339E4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61002" y="2855575"/>
              <a:ext cx="809850" cy="1487926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109B324-500D-BF0A-1C40-70E7034016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50358" y="2855575"/>
              <a:ext cx="809850" cy="148792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C7CDE92-8B56-FC7E-5F82-B26BEA875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71647" y="2855575"/>
              <a:ext cx="809850" cy="148792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6249491-83BA-BC56-7510-C29AD26263E0}"/>
                </a:ext>
              </a:extLst>
            </p:cNvPr>
            <p:cNvSpPr/>
            <p:nvPr/>
          </p:nvSpPr>
          <p:spPr>
            <a:xfrm>
              <a:off x="424812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Medieval Foundations (11th - 14th century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A84FB6F-16CC-7961-4809-E42546249C61}"/>
                </a:ext>
              </a:extLst>
            </p:cNvPr>
            <p:cNvSpPr/>
            <p:nvPr/>
          </p:nvSpPr>
          <p:spPr>
            <a:xfrm>
              <a:off x="4292947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Modern Era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(20th century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9BD1861-8F39-EB09-0140-7C1834AB6850}"/>
                </a:ext>
              </a:extLst>
            </p:cNvPr>
            <p:cNvSpPr/>
            <p:nvPr/>
          </p:nvSpPr>
          <p:spPr>
            <a:xfrm>
              <a:off x="1714168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Renaissance and Expansion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(15th - 17th century)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51B3332-DD18-97D6-9D1E-7D6E037D3AE1}"/>
                </a:ext>
              </a:extLst>
            </p:cNvPr>
            <p:cNvSpPr/>
            <p:nvPr/>
          </p:nvSpPr>
          <p:spPr>
            <a:xfrm>
              <a:off x="3003524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Industrial Revolution (18th - 19th century)</a:t>
              </a:r>
            </a:p>
          </p:txBody>
        </p:sp>
        <p:sp>
          <p:nvSpPr>
            <p:cNvPr id="22" name="Isosceles Triangle 138">
              <a:extLst>
                <a:ext uri="{FF2B5EF4-FFF2-40B4-BE49-F238E27FC236}">
                  <a16:creationId xmlns:a16="http://schemas.microsoft.com/office/drawing/2014/main" id="{516F8345-7999-B770-7D9C-BE0ECB80546A}"/>
                </a:ext>
              </a:extLst>
            </p:cNvPr>
            <p:cNvSpPr/>
            <p:nvPr/>
          </p:nvSpPr>
          <p:spPr>
            <a:xfrm>
              <a:off x="377542" y="982180"/>
              <a:ext cx="8873078" cy="759446"/>
            </a:xfrm>
            <a:prstGeom prst="triangle">
              <a:avLst>
                <a:gd name="adj" fmla="val 50194"/>
              </a:avLst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tIns="90000" bIns="90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B317D7B-E324-25DF-BAA5-ECE1DA3DF088}"/>
                </a:ext>
              </a:extLst>
            </p:cNvPr>
            <p:cNvSpPr txBox="1"/>
            <p:nvPr/>
          </p:nvSpPr>
          <p:spPr>
            <a:xfrm>
              <a:off x="2550100" y="1299046"/>
              <a:ext cx="4549823" cy="462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University Foundations and Evolution</a:t>
              </a:r>
              <a:endParaRPr kumimoji="0" lang="en-GB" sz="1100" b="0" i="0" u="none" strike="noStrike" kern="0" cap="none" spc="0" normalizeH="0" baseline="0" noProof="0" dirty="0">
                <a:ln w="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outerShdw blurRad="38100" dist="19050" dir="2700000" algn="tl" rotWithShape="0">
                    <a:srgbClr val="124191">
                      <a:alpha val="40000"/>
                    </a:srgbClr>
                  </a:outerShdw>
                </a:effectLst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222132-EFC8-FDB6-81DC-583EA4D03446}"/>
                </a:ext>
              </a:extLst>
            </p:cNvPr>
            <p:cNvSpPr/>
            <p:nvPr/>
          </p:nvSpPr>
          <p:spPr>
            <a:xfrm>
              <a:off x="399405" y="1762478"/>
              <a:ext cx="8851215" cy="240374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rgbClr val="124191"/>
              </a:solidFill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Tracing the journey from medieval roots to the tech-driven futur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70D4E5-0743-22B4-E615-30FA81FD4DB0}"/>
                </a:ext>
              </a:extLst>
            </p:cNvPr>
            <p:cNvSpPr/>
            <p:nvPr/>
          </p:nvSpPr>
          <p:spPr>
            <a:xfrm>
              <a:off x="396377" y="2039551"/>
              <a:ext cx="2303287" cy="311807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Foundation Period 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3D468CE-D48C-181D-736E-4A8FF4DC33D1}"/>
                </a:ext>
              </a:extLst>
            </p:cNvPr>
            <p:cNvSpPr/>
            <p:nvPr/>
          </p:nvSpPr>
          <p:spPr>
            <a:xfrm>
              <a:off x="2819619" y="2039551"/>
              <a:ext cx="2665837" cy="294898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Industrial Age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F17879F-AE96-68B8-4189-C794C4DA0968}"/>
                </a:ext>
              </a:extLst>
            </p:cNvPr>
            <p:cNvSpPr/>
            <p:nvPr/>
          </p:nvSpPr>
          <p:spPr>
            <a:xfrm>
              <a:off x="5599618" y="2033657"/>
              <a:ext cx="3651002" cy="300792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Digital Age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5807FBA-9867-7291-46A6-B6A89EEF4D06}"/>
                </a:ext>
              </a:extLst>
            </p:cNvPr>
            <p:cNvSpPr/>
            <p:nvPr/>
          </p:nvSpPr>
          <p:spPr>
            <a:xfrm>
              <a:off x="426868" y="4869198"/>
              <a:ext cx="8975315" cy="56341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Knowledge-Based on society, industry and technology evolution</a:t>
              </a:r>
            </a:p>
          </p:txBody>
        </p:sp>
        <p:pic>
          <p:nvPicPr>
            <p:cNvPr id="29" name="Picture 10" descr="Free Church SVG, PNG Icon, Symbol. Download Image.">
              <a:extLst>
                <a:ext uri="{FF2B5EF4-FFF2-40B4-BE49-F238E27FC236}">
                  <a16:creationId xmlns:a16="http://schemas.microsoft.com/office/drawing/2014/main" id="{50629E78-3327-02F3-6C00-C1456211BE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37778" y="2446762"/>
              <a:ext cx="461004" cy="466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Graphic 29" descr="Artist male outline">
              <a:extLst>
                <a:ext uri="{FF2B5EF4-FFF2-40B4-BE49-F238E27FC236}">
                  <a16:creationId xmlns:a16="http://schemas.microsoft.com/office/drawing/2014/main" id="{12E55EA8-7D0A-2021-0E80-E51ACEFCD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965706" y="2334449"/>
              <a:ext cx="599592" cy="606613"/>
            </a:xfrm>
            <a:prstGeom prst="rect">
              <a:avLst/>
            </a:prstGeom>
          </p:spPr>
        </p:pic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D26C100-22BD-0B16-F1E8-0C41A2AD036A}"/>
                </a:ext>
              </a:extLst>
            </p:cNvPr>
            <p:cNvSpPr/>
            <p:nvPr/>
          </p:nvSpPr>
          <p:spPr>
            <a:xfrm>
              <a:off x="434514" y="2098090"/>
              <a:ext cx="221446" cy="202595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1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D33F2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36AF230-18B5-EE06-7CD2-3BA3D5B334B5}"/>
                </a:ext>
              </a:extLst>
            </p:cNvPr>
            <p:cNvSpPr/>
            <p:nvPr/>
          </p:nvSpPr>
          <p:spPr>
            <a:xfrm>
              <a:off x="2831633" y="2082755"/>
              <a:ext cx="221446" cy="202595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2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D33F2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CFE28E9-D959-2823-C105-1DFC7850A7BC}"/>
                </a:ext>
              </a:extLst>
            </p:cNvPr>
            <p:cNvSpPr/>
            <p:nvPr/>
          </p:nvSpPr>
          <p:spPr>
            <a:xfrm>
              <a:off x="5835211" y="2087492"/>
              <a:ext cx="221446" cy="202595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3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D33F2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pic>
          <p:nvPicPr>
            <p:cNvPr id="34" name="Graphic 33" descr="Factory outline">
              <a:extLst>
                <a:ext uri="{FF2B5EF4-FFF2-40B4-BE49-F238E27FC236}">
                  <a16:creationId xmlns:a16="http://schemas.microsoft.com/office/drawing/2014/main" id="{F54018B5-534F-DBCC-CAE4-0292231A6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62676" y="2334449"/>
              <a:ext cx="599592" cy="606613"/>
            </a:xfrm>
            <a:prstGeom prst="rect">
              <a:avLst/>
            </a:prstGeom>
          </p:spPr>
        </p:pic>
        <p:pic>
          <p:nvPicPr>
            <p:cNvPr id="35" name="Graphic 34" descr="Globe outline">
              <a:extLst>
                <a:ext uri="{FF2B5EF4-FFF2-40B4-BE49-F238E27FC236}">
                  <a16:creationId xmlns:a16="http://schemas.microsoft.com/office/drawing/2014/main" id="{88186B37-F7EF-4DD2-B5F3-014AD979E7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93645" y="2359477"/>
              <a:ext cx="526938" cy="533108"/>
            </a:xfrm>
            <a:prstGeom prst="rect">
              <a:avLst/>
            </a:prstGeom>
          </p:spPr>
        </p:pic>
        <p:pic>
          <p:nvPicPr>
            <p:cNvPr id="36" name="Graphic 35" descr="Internet outline">
              <a:extLst>
                <a:ext uri="{FF2B5EF4-FFF2-40B4-BE49-F238E27FC236}">
                  <a16:creationId xmlns:a16="http://schemas.microsoft.com/office/drawing/2014/main" id="{DB4BDAAD-BEF2-14D1-7D39-7AD108457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855940" y="2317338"/>
              <a:ext cx="705292" cy="713550"/>
            </a:xfrm>
            <a:prstGeom prst="rect">
              <a:avLst/>
            </a:prstGeom>
          </p:spPr>
        </p:pic>
        <p:pic>
          <p:nvPicPr>
            <p:cNvPr id="37" name="Graphic 36" descr="Robot outline">
              <a:extLst>
                <a:ext uri="{FF2B5EF4-FFF2-40B4-BE49-F238E27FC236}">
                  <a16:creationId xmlns:a16="http://schemas.microsoft.com/office/drawing/2014/main" id="{237E5090-83BF-9901-18C6-383EEFDFE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256543" y="2322330"/>
              <a:ext cx="599592" cy="606613"/>
            </a:xfrm>
            <a:prstGeom prst="rect">
              <a:avLst/>
            </a:prstGeom>
          </p:spPr>
        </p:pic>
        <p:pic>
          <p:nvPicPr>
            <p:cNvPr id="38" name="Graphic 37" descr="Good Idea outline">
              <a:extLst>
                <a:ext uri="{FF2B5EF4-FFF2-40B4-BE49-F238E27FC236}">
                  <a16:creationId xmlns:a16="http://schemas.microsoft.com/office/drawing/2014/main" id="{C445A60C-5B5F-D29F-7771-771A84A51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602989" y="2427448"/>
              <a:ext cx="487620" cy="493330"/>
            </a:xfrm>
            <a:prstGeom prst="rect">
              <a:avLst/>
            </a:prstGeom>
          </p:spPr>
        </p:pic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ED7CAA7D-937B-189C-83F7-51719294A493}"/>
              </a:ext>
            </a:extLst>
          </p:cNvPr>
          <p:cNvSpPr/>
          <p:nvPr/>
        </p:nvSpPr>
        <p:spPr>
          <a:xfrm>
            <a:off x="5163481" y="1330318"/>
            <a:ext cx="3865487" cy="27850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25468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eform 14">
            <a:extLst>
              <a:ext uri="{FF2B5EF4-FFF2-40B4-BE49-F238E27FC236}">
                <a16:creationId xmlns:a16="http://schemas.microsoft.com/office/drawing/2014/main" id="{949EC8CF-74E5-02B3-3762-A783695F1AA7}"/>
              </a:ext>
            </a:extLst>
          </p:cNvPr>
          <p:cNvSpPr/>
          <p:nvPr/>
        </p:nvSpPr>
        <p:spPr>
          <a:xfrm rot="12920705">
            <a:off x="-1100054" y="3301685"/>
            <a:ext cx="2107855" cy="2086689"/>
          </a:xfrm>
          <a:custGeom>
            <a:avLst/>
            <a:gdLst/>
            <a:ahLst/>
            <a:cxnLst/>
            <a:rect l="l" t="t" r="r" b="b"/>
            <a:pathLst>
              <a:path w="8700980" h="8722787">
                <a:moveTo>
                  <a:pt x="0" y="0"/>
                </a:moveTo>
                <a:lnTo>
                  <a:pt x="8700980" y="0"/>
                </a:lnTo>
                <a:lnTo>
                  <a:pt x="8700980" y="8722787"/>
                </a:lnTo>
                <a:lnTo>
                  <a:pt x="0" y="872278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0" name="Freeform 2">
            <a:extLst>
              <a:ext uri="{FF2B5EF4-FFF2-40B4-BE49-F238E27FC236}">
                <a16:creationId xmlns:a16="http://schemas.microsoft.com/office/drawing/2014/main" id="{E3A9299D-FC99-6423-7542-6CC8EF0AF861}"/>
              </a:ext>
            </a:extLst>
          </p:cNvPr>
          <p:cNvSpPr/>
          <p:nvPr/>
        </p:nvSpPr>
        <p:spPr>
          <a:xfrm rot="868116">
            <a:off x="7690012" y="-1123700"/>
            <a:ext cx="2270413" cy="2288955"/>
          </a:xfrm>
          <a:custGeom>
            <a:avLst/>
            <a:gdLst/>
            <a:ahLst/>
            <a:cxnLst/>
            <a:rect l="l" t="t" r="r" b="b"/>
            <a:pathLst>
              <a:path w="8774178" h="8796169">
                <a:moveTo>
                  <a:pt x="0" y="0"/>
                </a:moveTo>
                <a:lnTo>
                  <a:pt x="8774178" y="0"/>
                </a:lnTo>
                <a:lnTo>
                  <a:pt x="8774178" y="8796168"/>
                </a:lnTo>
                <a:lnTo>
                  <a:pt x="0" y="8796168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5CC99B7-BEA0-E362-0AC2-650CC22CEA16}"/>
              </a:ext>
            </a:extLst>
          </p:cNvPr>
          <p:cNvGrpSpPr/>
          <p:nvPr/>
        </p:nvGrpSpPr>
        <p:grpSpPr>
          <a:xfrm>
            <a:off x="318782" y="318782"/>
            <a:ext cx="8674216" cy="4362275"/>
            <a:chOff x="377542" y="982180"/>
            <a:chExt cx="9196764" cy="4450428"/>
          </a:xfrm>
        </p:grpSpPr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15C033D4-EDB1-6D9B-65DB-90322D2125F0}"/>
                </a:ext>
              </a:extLst>
            </p:cNvPr>
            <p:cNvCxnSpPr>
              <a:cxnSpLocks/>
              <a:stCxn id="18" idx="1"/>
            </p:cNvCxnSpPr>
            <p:nvPr/>
          </p:nvCxnSpPr>
          <p:spPr>
            <a:xfrm>
              <a:off x="424812" y="4607972"/>
              <a:ext cx="9149494" cy="0"/>
            </a:xfrm>
            <a:prstGeom prst="straightConnector1">
              <a:avLst/>
            </a:prstGeom>
            <a:ln w="127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3A730E6-518E-CDD4-7B9D-876FCCD0C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40770" y="2855575"/>
              <a:ext cx="809850" cy="148792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A2BF62F-D1EA-F7D0-25CA-BAA9BFB70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51414" y="2855575"/>
              <a:ext cx="809850" cy="1487926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CC38D0E-9A2A-5821-3C70-2ACE4306A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95564" y="2855575"/>
              <a:ext cx="809850" cy="148792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254E3FA-6A72-A4F8-F823-9915E545C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39781" y="2855575"/>
              <a:ext cx="809850" cy="1487926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C15007F-9F28-9F35-9734-D0027E2EC7A8}"/>
                </a:ext>
              </a:extLst>
            </p:cNvPr>
            <p:cNvSpPr/>
            <p:nvPr/>
          </p:nvSpPr>
          <p:spPr>
            <a:xfrm>
              <a:off x="7004580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Digital Transformation (21st century)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9D63E11-2990-3E3A-2645-7F2F0EF5C5DA}"/>
                </a:ext>
              </a:extLst>
            </p:cNvPr>
            <p:cNvSpPr/>
            <p:nvPr/>
          </p:nvSpPr>
          <p:spPr>
            <a:xfrm>
              <a:off x="5582235" y="4383727"/>
              <a:ext cx="124123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Information Age </a:t>
              </a:r>
              <a:endParaRPr lang="en-GB" sz="800" kern="0" dirty="0">
                <a:solidFill>
                  <a:srgbClr val="124191"/>
                </a:solidFill>
                <a:latin typeface="Nokia Pure Headline Light"/>
                <a:cs typeface="Times New Roman" panose="02020603050405020304" pitchFamily="18" charset="0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(20th century - present)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BA22204-7671-62B7-A031-7C9E7D3AC616}"/>
                </a:ext>
              </a:extLst>
            </p:cNvPr>
            <p:cNvSpPr/>
            <p:nvPr/>
          </p:nvSpPr>
          <p:spPr>
            <a:xfrm>
              <a:off x="8293936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Advanced Tech and Innovation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(present - future)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13F5468-82CC-820B-728C-E430339E4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61002" y="2855575"/>
              <a:ext cx="809850" cy="1487926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109B324-500D-BF0A-1C40-70E7034016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50358" y="2855575"/>
              <a:ext cx="809850" cy="148792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C7CDE92-8B56-FC7E-5F82-B26BEA8751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71647" y="2855575"/>
              <a:ext cx="809850" cy="148792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6249491-83BA-BC56-7510-C29AD26263E0}"/>
                </a:ext>
              </a:extLst>
            </p:cNvPr>
            <p:cNvSpPr/>
            <p:nvPr/>
          </p:nvSpPr>
          <p:spPr>
            <a:xfrm>
              <a:off x="424812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Medieval Foundations (11th - 14th century)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A84FB6F-16CC-7961-4809-E42546249C61}"/>
                </a:ext>
              </a:extLst>
            </p:cNvPr>
            <p:cNvSpPr/>
            <p:nvPr/>
          </p:nvSpPr>
          <p:spPr>
            <a:xfrm>
              <a:off x="4292947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Modern Era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(20th century)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9BD1861-8F39-EB09-0140-7C1834AB6850}"/>
                </a:ext>
              </a:extLst>
            </p:cNvPr>
            <p:cNvSpPr/>
            <p:nvPr/>
          </p:nvSpPr>
          <p:spPr>
            <a:xfrm>
              <a:off x="1714168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Renaissance and Expansion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(15th - 17th century)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51B3332-DD18-97D6-9D1E-7D6E037D3AE1}"/>
                </a:ext>
              </a:extLst>
            </p:cNvPr>
            <p:cNvSpPr/>
            <p:nvPr/>
          </p:nvSpPr>
          <p:spPr>
            <a:xfrm>
              <a:off x="3003524" y="4383727"/>
              <a:ext cx="1108247" cy="448489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98A2AE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72000" rIns="36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Industrial Revolution (18th - 19th century)</a:t>
              </a:r>
            </a:p>
          </p:txBody>
        </p:sp>
        <p:sp>
          <p:nvSpPr>
            <p:cNvPr id="22" name="Isosceles Triangle 138">
              <a:extLst>
                <a:ext uri="{FF2B5EF4-FFF2-40B4-BE49-F238E27FC236}">
                  <a16:creationId xmlns:a16="http://schemas.microsoft.com/office/drawing/2014/main" id="{516F8345-7999-B770-7D9C-BE0ECB80546A}"/>
                </a:ext>
              </a:extLst>
            </p:cNvPr>
            <p:cNvSpPr/>
            <p:nvPr/>
          </p:nvSpPr>
          <p:spPr>
            <a:xfrm>
              <a:off x="377542" y="982180"/>
              <a:ext cx="8873078" cy="759446"/>
            </a:xfrm>
            <a:prstGeom prst="triangle">
              <a:avLst>
                <a:gd name="adj" fmla="val 50194"/>
              </a:avLst>
            </a:prstGeom>
            <a:solidFill>
              <a:schemeClr val="accent1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tIns="90000" bIns="90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B317D7B-E324-25DF-BAA5-ECE1DA3DF088}"/>
                </a:ext>
              </a:extLst>
            </p:cNvPr>
            <p:cNvSpPr txBox="1"/>
            <p:nvPr/>
          </p:nvSpPr>
          <p:spPr>
            <a:xfrm>
              <a:off x="2550100" y="1299046"/>
              <a:ext cx="4549823" cy="462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University Foundations and Evolution</a:t>
              </a:r>
              <a:endParaRPr kumimoji="0" lang="en-GB" sz="1100" b="0" i="0" u="none" strike="noStrike" kern="0" cap="none" spc="0" normalizeH="0" baseline="0" noProof="0" dirty="0">
                <a:ln w="0">
                  <a:solidFill>
                    <a:srgbClr val="FFFFFF"/>
                  </a:solidFill>
                </a:ln>
                <a:solidFill>
                  <a:srgbClr val="FFFFFF"/>
                </a:solidFill>
                <a:effectLst>
                  <a:outerShdw blurRad="38100" dist="19050" dir="2700000" algn="tl" rotWithShape="0">
                    <a:srgbClr val="124191">
                      <a:alpha val="40000"/>
                    </a:srgbClr>
                  </a:outerShdw>
                </a:effectLst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222132-EFC8-FDB6-81DC-583EA4D03446}"/>
                </a:ext>
              </a:extLst>
            </p:cNvPr>
            <p:cNvSpPr/>
            <p:nvPr/>
          </p:nvSpPr>
          <p:spPr>
            <a:xfrm>
              <a:off x="399405" y="1762478"/>
              <a:ext cx="8851215" cy="240374"/>
            </a:xfrm>
            <a:prstGeom prst="rect">
              <a:avLst/>
            </a:prstGeom>
            <a:solidFill>
              <a:schemeClr val="accent1"/>
            </a:solidFill>
            <a:ln w="3175">
              <a:solidFill>
                <a:srgbClr val="124191"/>
              </a:solidFill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Tracing the journey from medieval roots to the tech-driven futur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270D4E5-0743-22B4-E615-30FA81FD4DB0}"/>
                </a:ext>
              </a:extLst>
            </p:cNvPr>
            <p:cNvSpPr/>
            <p:nvPr/>
          </p:nvSpPr>
          <p:spPr>
            <a:xfrm>
              <a:off x="396377" y="2039551"/>
              <a:ext cx="2303287" cy="311807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Foundation Period 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3D468CE-D48C-181D-736E-4A8FF4DC33D1}"/>
                </a:ext>
              </a:extLst>
            </p:cNvPr>
            <p:cNvSpPr/>
            <p:nvPr/>
          </p:nvSpPr>
          <p:spPr>
            <a:xfrm>
              <a:off x="2819619" y="2039551"/>
              <a:ext cx="2665837" cy="294898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Industrial Age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F17879F-AE96-68B8-4189-C794C4DA0968}"/>
                </a:ext>
              </a:extLst>
            </p:cNvPr>
            <p:cNvSpPr/>
            <p:nvPr/>
          </p:nvSpPr>
          <p:spPr>
            <a:xfrm>
              <a:off x="5599618" y="2033657"/>
              <a:ext cx="3651002" cy="300792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Digital Age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Headline Ligh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5807FBA-9867-7291-46A6-B6A89EEF4D06}"/>
                </a:ext>
              </a:extLst>
            </p:cNvPr>
            <p:cNvSpPr/>
            <p:nvPr/>
          </p:nvSpPr>
          <p:spPr>
            <a:xfrm>
              <a:off x="426868" y="4869198"/>
              <a:ext cx="8975315" cy="56341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Headline Light"/>
                  <a:ea typeface="+mn-ea"/>
                  <a:cs typeface="Times New Roman" panose="02020603050405020304" pitchFamily="18" charset="0"/>
                </a:rPr>
                <a:t>Knowledge-Based on society, industry and technology evolution</a:t>
              </a:r>
            </a:p>
          </p:txBody>
        </p:sp>
        <p:pic>
          <p:nvPicPr>
            <p:cNvPr id="29" name="Picture 10" descr="Free Church SVG, PNG Icon, Symbol. Download Image.">
              <a:extLst>
                <a:ext uri="{FF2B5EF4-FFF2-40B4-BE49-F238E27FC236}">
                  <a16:creationId xmlns:a16="http://schemas.microsoft.com/office/drawing/2014/main" id="{50629E78-3327-02F3-6C00-C1456211BE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37778" y="2446762"/>
              <a:ext cx="461004" cy="466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Graphic 29" descr="Artist male outline">
              <a:extLst>
                <a:ext uri="{FF2B5EF4-FFF2-40B4-BE49-F238E27FC236}">
                  <a16:creationId xmlns:a16="http://schemas.microsoft.com/office/drawing/2014/main" id="{12E55EA8-7D0A-2021-0E80-E51ACEFCD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965706" y="2334449"/>
              <a:ext cx="599592" cy="606613"/>
            </a:xfrm>
            <a:prstGeom prst="rect">
              <a:avLst/>
            </a:prstGeom>
          </p:spPr>
        </p:pic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D26C100-22BD-0B16-F1E8-0C41A2AD036A}"/>
                </a:ext>
              </a:extLst>
            </p:cNvPr>
            <p:cNvSpPr/>
            <p:nvPr/>
          </p:nvSpPr>
          <p:spPr>
            <a:xfrm>
              <a:off x="434514" y="2098090"/>
              <a:ext cx="221446" cy="202595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1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D33F2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36AF230-18B5-EE06-7CD2-3BA3D5B334B5}"/>
                </a:ext>
              </a:extLst>
            </p:cNvPr>
            <p:cNvSpPr/>
            <p:nvPr/>
          </p:nvSpPr>
          <p:spPr>
            <a:xfrm>
              <a:off x="2831633" y="2082755"/>
              <a:ext cx="221446" cy="202595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2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D33F2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CFE28E9-D959-2823-C105-1DFC7850A7BC}"/>
                </a:ext>
              </a:extLst>
            </p:cNvPr>
            <p:cNvSpPr/>
            <p:nvPr/>
          </p:nvSpPr>
          <p:spPr>
            <a:xfrm>
              <a:off x="5835211" y="2087492"/>
              <a:ext cx="221446" cy="202595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7D33F2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3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7D33F2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endParaRPr>
            </a:p>
          </p:txBody>
        </p:sp>
        <p:pic>
          <p:nvPicPr>
            <p:cNvPr id="34" name="Graphic 33" descr="Factory outline">
              <a:extLst>
                <a:ext uri="{FF2B5EF4-FFF2-40B4-BE49-F238E27FC236}">
                  <a16:creationId xmlns:a16="http://schemas.microsoft.com/office/drawing/2014/main" id="{F54018B5-534F-DBCC-CAE4-0292231A6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262676" y="2334449"/>
              <a:ext cx="599592" cy="606613"/>
            </a:xfrm>
            <a:prstGeom prst="rect">
              <a:avLst/>
            </a:prstGeom>
          </p:spPr>
        </p:pic>
        <p:pic>
          <p:nvPicPr>
            <p:cNvPr id="35" name="Graphic 34" descr="Globe outline">
              <a:extLst>
                <a:ext uri="{FF2B5EF4-FFF2-40B4-BE49-F238E27FC236}">
                  <a16:creationId xmlns:a16="http://schemas.microsoft.com/office/drawing/2014/main" id="{88186B37-F7EF-4DD2-B5F3-014AD979E7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93645" y="2359477"/>
              <a:ext cx="526938" cy="533108"/>
            </a:xfrm>
            <a:prstGeom prst="rect">
              <a:avLst/>
            </a:prstGeom>
          </p:spPr>
        </p:pic>
        <p:pic>
          <p:nvPicPr>
            <p:cNvPr id="36" name="Graphic 35" descr="Internet outline">
              <a:extLst>
                <a:ext uri="{FF2B5EF4-FFF2-40B4-BE49-F238E27FC236}">
                  <a16:creationId xmlns:a16="http://schemas.microsoft.com/office/drawing/2014/main" id="{DB4BDAAD-BEF2-14D1-7D39-7AD108457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855940" y="2317338"/>
              <a:ext cx="705292" cy="713550"/>
            </a:xfrm>
            <a:prstGeom prst="rect">
              <a:avLst/>
            </a:prstGeom>
          </p:spPr>
        </p:pic>
        <p:pic>
          <p:nvPicPr>
            <p:cNvPr id="37" name="Graphic 36" descr="Robot outline">
              <a:extLst>
                <a:ext uri="{FF2B5EF4-FFF2-40B4-BE49-F238E27FC236}">
                  <a16:creationId xmlns:a16="http://schemas.microsoft.com/office/drawing/2014/main" id="{237E5090-83BF-9901-18C6-383EEFDFE6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256543" y="2322330"/>
              <a:ext cx="599592" cy="606613"/>
            </a:xfrm>
            <a:prstGeom prst="rect">
              <a:avLst/>
            </a:prstGeom>
          </p:spPr>
        </p:pic>
        <p:pic>
          <p:nvPicPr>
            <p:cNvPr id="38" name="Graphic 37" descr="Good Idea outline">
              <a:extLst>
                <a:ext uri="{FF2B5EF4-FFF2-40B4-BE49-F238E27FC236}">
                  <a16:creationId xmlns:a16="http://schemas.microsoft.com/office/drawing/2014/main" id="{C445A60C-5B5F-D29F-7771-771A84A51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602989" y="2427448"/>
              <a:ext cx="487620" cy="493330"/>
            </a:xfrm>
            <a:prstGeom prst="rect">
              <a:avLst/>
            </a:prstGeom>
          </p:spPr>
        </p:pic>
      </p:grpSp>
      <p:pic>
        <p:nvPicPr>
          <p:cNvPr id="105" name="Picture 2" descr="Papyrus inscribed with an account and a religious text | Middle Kingdom |  The Metropolitan Museum of Art">
            <a:extLst>
              <a:ext uri="{FF2B5EF4-FFF2-40B4-BE49-F238E27FC236}">
                <a16:creationId xmlns:a16="http://schemas.microsoft.com/office/drawing/2014/main" id="{1C8924FB-5B3C-1D57-40B7-FA99BDB94B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381" y="2952071"/>
            <a:ext cx="624357" cy="49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4" descr="A History of Printing – Printers, Hot Metal Press Ltd. Barnsley, Elsecar">
            <a:extLst>
              <a:ext uri="{FF2B5EF4-FFF2-40B4-BE49-F238E27FC236}">
                <a16:creationId xmlns:a16="http://schemas.microsoft.com/office/drawing/2014/main" id="{3E0B92B0-ABB2-CE59-1C30-F1E36886AF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548" y="2880860"/>
            <a:ext cx="565524" cy="561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10" descr="Invention of radio - Wikipedia">
            <a:extLst>
              <a:ext uri="{FF2B5EF4-FFF2-40B4-BE49-F238E27FC236}">
                <a16:creationId xmlns:a16="http://schemas.microsoft.com/office/drawing/2014/main" id="{AA3E95F5-644E-D6AD-540D-EE0EE8898C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703" y="3010411"/>
            <a:ext cx="638529" cy="449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2" descr="1970s | Sutori">
            <a:extLst>
              <a:ext uri="{FF2B5EF4-FFF2-40B4-BE49-F238E27FC236}">
                <a16:creationId xmlns:a16="http://schemas.microsoft.com/office/drawing/2014/main" id="{51C5B681-BAFB-4ECF-BB3D-1427BAEC7F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9852" y="2995100"/>
            <a:ext cx="744295" cy="46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14" descr="World Wide Web - Wikipedia">
            <a:extLst>
              <a:ext uri="{FF2B5EF4-FFF2-40B4-BE49-F238E27FC236}">
                <a16:creationId xmlns:a16="http://schemas.microsoft.com/office/drawing/2014/main" id="{CDD7B57C-182A-DCE1-5C03-890798AC12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8267" y="2884540"/>
            <a:ext cx="665218" cy="554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10" descr="3G Mobile icon PNG and SVG Vector Free Download">
            <a:extLst>
              <a:ext uri="{FF2B5EF4-FFF2-40B4-BE49-F238E27FC236}">
                <a16:creationId xmlns:a16="http://schemas.microsoft.com/office/drawing/2014/main" id="{41F7BBC4-3AB6-0251-ADD2-A9F5D7FC8D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676" y="2815993"/>
            <a:ext cx="355775" cy="611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8C05F63-59FA-D8F5-672B-EEC96C01AC63}"/>
              </a:ext>
            </a:extLst>
          </p:cNvPr>
          <p:cNvSpPr/>
          <p:nvPr/>
        </p:nvSpPr>
        <p:spPr>
          <a:xfrm>
            <a:off x="8076870" y="3010411"/>
            <a:ext cx="459914" cy="449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5A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303B3AE-C3BD-3DEC-384B-DCC5EE1164F0}"/>
              </a:ext>
            </a:extLst>
          </p:cNvPr>
          <p:cNvSpPr/>
          <p:nvPr/>
        </p:nvSpPr>
        <p:spPr>
          <a:xfrm>
            <a:off x="7974856" y="3028536"/>
            <a:ext cx="633418" cy="449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5AFF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5G</a:t>
            </a:r>
          </a:p>
        </p:txBody>
      </p:sp>
      <p:pic>
        <p:nvPicPr>
          <p:cNvPr id="4" name="Picture 4" descr="How Will AR / VR Headsets Affect Media &amp; Entertainment Industry">
            <a:extLst>
              <a:ext uri="{FF2B5EF4-FFF2-40B4-BE49-F238E27FC236}">
                <a16:creationId xmlns:a16="http://schemas.microsoft.com/office/drawing/2014/main" id="{F3E55960-82EB-6BFA-3DCE-816E9FB319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69" r="25153"/>
          <a:stretch/>
        </p:blipFill>
        <p:spPr bwMode="auto">
          <a:xfrm>
            <a:off x="7997637" y="2874200"/>
            <a:ext cx="633418" cy="590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184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ounded Rectangle 58">
            <a:extLst>
              <a:ext uri="{FF2B5EF4-FFF2-40B4-BE49-F238E27FC236}">
                <a16:creationId xmlns:a16="http://schemas.microsoft.com/office/drawing/2014/main" id="{0185D7C8-C26D-54C7-444D-6CF7D5C7E539}"/>
              </a:ext>
            </a:extLst>
          </p:cNvPr>
          <p:cNvSpPr/>
          <p:nvPr/>
        </p:nvSpPr>
        <p:spPr>
          <a:xfrm>
            <a:off x="0" y="4886934"/>
            <a:ext cx="9144000" cy="256566"/>
          </a:xfrm>
          <a:prstGeom prst="roundRect">
            <a:avLst>
              <a:gd name="adj" fmla="val 0"/>
            </a:avLst>
          </a:prstGeom>
          <a:gradFill flip="none" rotWithShape="1">
            <a:gsLst>
              <a:gs pos="2000">
                <a:schemeClr val="accent5"/>
              </a:gs>
              <a:gs pos="12000">
                <a:srgbClr val="00B0F0"/>
              </a:gs>
              <a:gs pos="31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4" name="Freeform 14">
            <a:extLst>
              <a:ext uri="{FF2B5EF4-FFF2-40B4-BE49-F238E27FC236}">
                <a16:creationId xmlns:a16="http://schemas.microsoft.com/office/drawing/2014/main" id="{932ECC49-7296-0CDD-D8E0-54F957A81352}"/>
              </a:ext>
            </a:extLst>
          </p:cNvPr>
          <p:cNvSpPr/>
          <p:nvPr/>
        </p:nvSpPr>
        <p:spPr>
          <a:xfrm rot="723284">
            <a:off x="7593009" y="-636304"/>
            <a:ext cx="1978033" cy="2013045"/>
          </a:xfrm>
          <a:custGeom>
            <a:avLst/>
            <a:gdLst/>
            <a:ahLst/>
            <a:cxnLst/>
            <a:rect l="l" t="t" r="r" b="b"/>
            <a:pathLst>
              <a:path w="8700980" h="8722787">
                <a:moveTo>
                  <a:pt x="0" y="0"/>
                </a:moveTo>
                <a:lnTo>
                  <a:pt x="8700980" y="0"/>
                </a:lnTo>
                <a:lnTo>
                  <a:pt x="8700980" y="8722787"/>
                </a:lnTo>
                <a:lnTo>
                  <a:pt x="0" y="872278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66" name="Text Placeholder 1">
            <a:extLst>
              <a:ext uri="{FF2B5EF4-FFF2-40B4-BE49-F238E27FC236}">
                <a16:creationId xmlns:a16="http://schemas.microsoft.com/office/drawing/2014/main" id="{F6D70807-6C49-3B59-CA46-3BEBA71110B8}"/>
              </a:ext>
            </a:extLst>
          </p:cNvPr>
          <p:cNvSpPr txBox="1">
            <a:spLocks/>
          </p:cNvSpPr>
          <p:nvPr/>
        </p:nvSpPr>
        <p:spPr>
          <a:xfrm>
            <a:off x="569999" y="287623"/>
            <a:ext cx="8308800" cy="1082512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5AFF"/>
                </a:solidFill>
                <a:effectLst/>
                <a:uLnTx/>
                <a:uFillTx/>
                <a:latin typeface="Nokia Pure Headline Ultra Light" panose="020B0204020202020204" pitchFamily="34" charset="0"/>
                <a:ea typeface="+mn-ea"/>
                <a:cs typeface="+mn-cs"/>
              </a:rPr>
              <a:t>Evolution of Wireless Communication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5AFF"/>
                </a:solidFill>
                <a:effectLst/>
                <a:uLnTx/>
                <a:uFillTx/>
                <a:latin typeface="Nokia Pure Headline Ultra Light" panose="020B0204020202020204" pitchFamily="34" charset="0"/>
                <a:ea typeface="+mn-ea"/>
                <a:cs typeface="+mn-cs"/>
              </a:rPr>
              <a:t>From 1G to 5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E5A33B5-5C03-206A-DA0C-630A825DF251}"/>
              </a:ext>
            </a:extLst>
          </p:cNvPr>
          <p:cNvGrpSpPr/>
          <p:nvPr/>
        </p:nvGrpSpPr>
        <p:grpSpPr>
          <a:xfrm>
            <a:off x="742278" y="1508485"/>
            <a:ext cx="7839747" cy="3217765"/>
            <a:chOff x="742278" y="1508485"/>
            <a:chExt cx="7839747" cy="3217765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DB52C87-7F57-CA3E-76ED-53B4EC5A906A}"/>
                </a:ext>
              </a:extLst>
            </p:cNvPr>
            <p:cNvGrpSpPr/>
            <p:nvPr/>
          </p:nvGrpSpPr>
          <p:grpSpPr>
            <a:xfrm>
              <a:off x="742278" y="1508485"/>
              <a:ext cx="7839747" cy="3217765"/>
              <a:chOff x="742278" y="1441810"/>
              <a:chExt cx="7839747" cy="3217765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1C7BF05F-8BA2-A98F-60C3-E1D3DC6071AA}"/>
                  </a:ext>
                </a:extLst>
              </p:cNvPr>
              <p:cNvGrpSpPr/>
              <p:nvPr/>
            </p:nvGrpSpPr>
            <p:grpSpPr>
              <a:xfrm>
                <a:off x="742278" y="1441810"/>
                <a:ext cx="7659443" cy="3217765"/>
                <a:chOff x="69765" y="394997"/>
                <a:chExt cx="8959505" cy="3832492"/>
              </a:xfrm>
            </p:grpSpPr>
            <p:pic>
              <p:nvPicPr>
                <p:cNvPr id="34" name="Picture 33" descr="A diagram of a timeline of mobile broadband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15D25355-3476-D6BA-7BA8-8EFBBA49D3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69765" y="394997"/>
                  <a:ext cx="8959505" cy="2536306"/>
                </a:xfrm>
                <a:prstGeom prst="rect">
                  <a:avLst/>
                </a:prstGeom>
              </p:spPr>
            </p:pic>
            <p:sp>
              <p:nvSpPr>
                <p:cNvPr id="35" name="Rounded Rectangle 34">
                  <a:extLst>
                    <a:ext uri="{FF2B5EF4-FFF2-40B4-BE49-F238E27FC236}">
                      <a16:creationId xmlns:a16="http://schemas.microsoft.com/office/drawing/2014/main" id="{3B6BA4A9-8E82-B9A8-9793-B83F8720F7F2}"/>
                    </a:ext>
                  </a:extLst>
                </p:cNvPr>
                <p:cNvSpPr/>
                <p:nvPr/>
              </p:nvSpPr>
              <p:spPr>
                <a:xfrm>
                  <a:off x="1264365" y="3081655"/>
                  <a:ext cx="1167354" cy="100933"/>
                </a:xfrm>
                <a:prstGeom prst="roundRect">
                  <a:avLst/>
                </a:prstGeom>
                <a:solidFill>
                  <a:srgbClr val="BEC8D2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Rounded Rectangle 35">
                  <a:extLst>
                    <a:ext uri="{FF2B5EF4-FFF2-40B4-BE49-F238E27FC236}">
                      <a16:creationId xmlns:a16="http://schemas.microsoft.com/office/drawing/2014/main" id="{C0C5CB0E-DA11-C014-D507-C36F7C7A5D0E}"/>
                    </a:ext>
                  </a:extLst>
                </p:cNvPr>
                <p:cNvSpPr/>
                <p:nvPr/>
              </p:nvSpPr>
              <p:spPr>
                <a:xfrm>
                  <a:off x="2626320" y="3081656"/>
                  <a:ext cx="1392865" cy="100950"/>
                </a:xfrm>
                <a:prstGeom prst="roundRect">
                  <a:avLst/>
                </a:prstGeom>
                <a:gradFill flip="none" rotWithShape="1">
                  <a:gsLst>
                    <a:gs pos="86000">
                      <a:srgbClr val="BEC8D2"/>
                    </a:gs>
                    <a:gs pos="100000">
                      <a:schemeClr val="accent1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Rounded Rectangle 36">
                  <a:extLst>
                    <a:ext uri="{FF2B5EF4-FFF2-40B4-BE49-F238E27FC236}">
                      <a16:creationId xmlns:a16="http://schemas.microsoft.com/office/drawing/2014/main" id="{EA63F891-EE44-B29B-808C-B236D2D80387}"/>
                    </a:ext>
                  </a:extLst>
                </p:cNvPr>
                <p:cNvSpPr/>
                <p:nvPr/>
              </p:nvSpPr>
              <p:spPr>
                <a:xfrm>
                  <a:off x="4213786" y="3081656"/>
                  <a:ext cx="1392865" cy="100951"/>
                </a:xfrm>
                <a:prstGeom prst="roundRect">
                  <a:avLst/>
                </a:prstGeom>
                <a:gradFill flip="none" rotWithShape="1">
                  <a:gsLst>
                    <a:gs pos="73000">
                      <a:schemeClr val="accent1"/>
                    </a:gs>
                    <a:gs pos="69000">
                      <a:srgbClr val="BEC8D2"/>
                    </a:gs>
                    <a:gs pos="100000">
                      <a:schemeClr val="accent1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Rounded Rectangle 37">
                  <a:extLst>
                    <a:ext uri="{FF2B5EF4-FFF2-40B4-BE49-F238E27FC236}">
                      <a16:creationId xmlns:a16="http://schemas.microsoft.com/office/drawing/2014/main" id="{1C921FDF-2E28-A638-6A17-538DBCB8F694}"/>
                    </a:ext>
                  </a:extLst>
                </p:cNvPr>
                <p:cNvSpPr/>
                <p:nvPr/>
              </p:nvSpPr>
              <p:spPr>
                <a:xfrm>
                  <a:off x="5801252" y="3090508"/>
                  <a:ext cx="1392865" cy="92138"/>
                </a:xfrm>
                <a:prstGeom prst="roundRect">
                  <a:avLst/>
                </a:prstGeom>
                <a:gradFill flip="none" rotWithShape="1">
                  <a:gsLst>
                    <a:gs pos="56000">
                      <a:srgbClr val="00C9FF"/>
                    </a:gs>
                    <a:gs pos="52000">
                      <a:srgbClr val="BEC8D2"/>
                    </a:gs>
                    <a:gs pos="100000">
                      <a:schemeClr val="accent1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Rounded Rectangle 38">
                  <a:extLst>
                    <a:ext uri="{FF2B5EF4-FFF2-40B4-BE49-F238E27FC236}">
                      <a16:creationId xmlns:a16="http://schemas.microsoft.com/office/drawing/2014/main" id="{341760D9-F8DD-4144-A55C-E1E7428C6552}"/>
                    </a:ext>
                  </a:extLst>
                </p:cNvPr>
                <p:cNvSpPr/>
                <p:nvPr/>
              </p:nvSpPr>
              <p:spPr>
                <a:xfrm>
                  <a:off x="7388718" y="3085230"/>
                  <a:ext cx="1392865" cy="92141"/>
                </a:xfrm>
                <a:prstGeom prst="roundRect">
                  <a:avLst/>
                </a:prstGeom>
                <a:gradFill flip="none" rotWithShape="1">
                  <a:gsLst>
                    <a:gs pos="18000">
                      <a:srgbClr val="00C9FF"/>
                    </a:gs>
                    <a:gs pos="16000">
                      <a:srgbClr val="BEC8D2"/>
                    </a:gs>
                    <a:gs pos="100000">
                      <a:schemeClr val="accent1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endParaRPr>
                </a:p>
              </p:txBody>
            </p:sp>
            <p:pic>
              <p:nvPicPr>
                <p:cNvPr id="40" name="Graphic 39" descr="Rocket outline">
                  <a:extLst>
                    <a:ext uri="{FF2B5EF4-FFF2-40B4-BE49-F238E27FC236}">
                      <a16:creationId xmlns:a16="http://schemas.microsoft.com/office/drawing/2014/main" id="{FD37225C-B399-BA2F-97A0-E24C882A633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82052" y="3342152"/>
                  <a:ext cx="760298" cy="760298"/>
                </a:xfrm>
                <a:prstGeom prst="rect">
                  <a:avLst/>
                </a:prstGeom>
              </p:spPr>
            </p:pic>
            <p:pic>
              <p:nvPicPr>
                <p:cNvPr id="41" name="Graphic 40" descr="Aeroplane outline">
                  <a:extLst>
                    <a:ext uri="{FF2B5EF4-FFF2-40B4-BE49-F238E27FC236}">
                      <a16:creationId xmlns:a16="http://schemas.microsoft.com/office/drawing/2014/main" id="{A9C6B52F-0439-9252-A6FB-C19DD5DE18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94586" y="3309300"/>
                  <a:ext cx="760298" cy="760298"/>
                </a:xfrm>
                <a:prstGeom prst="rect">
                  <a:avLst/>
                </a:prstGeom>
              </p:spPr>
            </p:pic>
            <p:pic>
              <p:nvPicPr>
                <p:cNvPr id="42" name="Graphic 41" descr="Convertible outline">
                  <a:extLst>
                    <a:ext uri="{FF2B5EF4-FFF2-40B4-BE49-F238E27FC236}">
                      <a16:creationId xmlns:a16="http://schemas.microsoft.com/office/drawing/2014/main" id="{E56F1399-0B06-0D4C-0727-F31529A453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601620" y="3313089"/>
                  <a:ext cx="914400" cy="914400"/>
                </a:xfrm>
                <a:prstGeom prst="rect">
                  <a:avLst/>
                </a:prstGeom>
              </p:spPr>
            </p:pic>
            <p:pic>
              <p:nvPicPr>
                <p:cNvPr id="43" name="Graphic 42" descr="Scooter outline">
                  <a:extLst>
                    <a:ext uri="{FF2B5EF4-FFF2-40B4-BE49-F238E27FC236}">
                      <a16:creationId xmlns:a16="http://schemas.microsoft.com/office/drawing/2014/main" id="{84E3C72D-486F-3D17-81CF-34E0BDC3F2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865552" y="3271624"/>
                  <a:ext cx="914400" cy="914400"/>
                </a:xfrm>
                <a:prstGeom prst="rect">
                  <a:avLst/>
                </a:prstGeom>
              </p:spPr>
            </p:pic>
            <p:pic>
              <p:nvPicPr>
                <p:cNvPr id="44" name="Graphic 43" descr="Tricycle outline">
                  <a:extLst>
                    <a:ext uri="{FF2B5EF4-FFF2-40B4-BE49-F238E27FC236}">
                      <a16:creationId xmlns:a16="http://schemas.microsoft.com/office/drawing/2014/main" id="{7E7670A5-878A-E781-200A-1DDDF884E8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89338" y="3271624"/>
                  <a:ext cx="914400" cy="914400"/>
                </a:xfrm>
                <a:prstGeom prst="rect">
                  <a:avLst/>
                </a:prstGeom>
              </p:spPr>
            </p:pic>
            <p:sp>
              <p:nvSpPr>
                <p:cNvPr id="45" name="Rounded Rectangle 44">
                  <a:extLst>
                    <a:ext uri="{FF2B5EF4-FFF2-40B4-BE49-F238E27FC236}">
                      <a16:creationId xmlns:a16="http://schemas.microsoft.com/office/drawing/2014/main" id="{4BE8DFD1-F768-6E70-C37F-D9378BF5D632}"/>
                    </a:ext>
                  </a:extLst>
                </p:cNvPr>
                <p:cNvSpPr/>
                <p:nvPr/>
              </p:nvSpPr>
              <p:spPr>
                <a:xfrm>
                  <a:off x="213579" y="2968966"/>
                  <a:ext cx="856185" cy="373186"/>
                </a:xfrm>
                <a:prstGeom prst="roundRect">
                  <a:avLst/>
                </a:prstGeom>
                <a:solidFill>
                  <a:schemeClr val="accent1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rPr>
                    <a:t>Industry 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rPr>
                    <a:t>Impact</a:t>
                  </a:r>
                </a:p>
              </p:txBody>
            </p:sp>
            <p:sp>
              <p:nvSpPr>
                <p:cNvPr id="46" name="Rounded Rectangle 45">
                  <a:extLst>
                    <a:ext uri="{FF2B5EF4-FFF2-40B4-BE49-F238E27FC236}">
                      <a16:creationId xmlns:a16="http://schemas.microsoft.com/office/drawing/2014/main" id="{E4CA333D-ACB2-22B6-10DF-057F4BA5C96A}"/>
                    </a:ext>
                  </a:extLst>
                </p:cNvPr>
                <p:cNvSpPr/>
                <p:nvPr/>
              </p:nvSpPr>
              <p:spPr>
                <a:xfrm>
                  <a:off x="213579" y="3600122"/>
                  <a:ext cx="856185" cy="373186"/>
                </a:xfrm>
                <a:prstGeom prst="roundRect">
                  <a:avLst/>
                </a:prstGeom>
                <a:solidFill>
                  <a:schemeClr val="accent5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96000" tIns="96000" rIns="96000" bIns="9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rPr>
                    <a:t>Speed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Pct val="100000"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Text Light"/>
                      <a:ea typeface="+mn-ea"/>
                      <a:cs typeface="+mn-cs"/>
                    </a:rPr>
                    <a:t>Analogy</a:t>
                  </a:r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8BF68A52-D9F0-051A-45B7-4B2E349D0CA4}"/>
                  </a:ext>
                </a:extLst>
              </p:cNvPr>
              <p:cNvGrpSpPr/>
              <p:nvPr/>
            </p:nvGrpSpPr>
            <p:grpSpPr>
              <a:xfrm>
                <a:off x="6824157" y="2110371"/>
                <a:ext cx="1757868" cy="1459927"/>
                <a:chOff x="9511314" y="1539545"/>
                <a:chExt cx="2543838" cy="2196114"/>
              </a:xfrm>
            </p:grpSpPr>
            <p:pic>
              <p:nvPicPr>
                <p:cNvPr id="68" name="Picture 67" descr="A diagram of a diagram of two people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4645CC20-F06F-2355-242E-D8FFB091AB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8591" t="41412" r="1250" b="21763"/>
                <a:stretch/>
              </p:blipFill>
              <p:spPr>
                <a:xfrm>
                  <a:off x="9511314" y="1539545"/>
                  <a:ext cx="2543838" cy="2196114"/>
                </a:xfrm>
                <a:prstGeom prst="rect">
                  <a:avLst/>
                </a:prstGeom>
              </p:spPr>
            </p:pic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745B7B95-D2BE-EBB7-5594-8AB23ECB9F3C}"/>
                    </a:ext>
                  </a:extLst>
                </p:cNvPr>
                <p:cNvSpPr txBox="1"/>
                <p:nvPr/>
              </p:nvSpPr>
              <p:spPr>
                <a:xfrm>
                  <a:off x="10250845" y="2407888"/>
                  <a:ext cx="1159032" cy="60187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Times New Roman" panose="02020603050405020304" pitchFamily="18" charset="0"/>
                    </a:rPr>
                    <a:t>5G, AI, 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kia Pure Headline Light"/>
                      <a:ea typeface="+mn-ea"/>
                      <a:cs typeface="Times New Roman" panose="02020603050405020304" pitchFamily="18" charset="0"/>
                    </a:rPr>
                    <a:t>VR, XR </a:t>
                  </a:r>
                  <a:endPara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Nokia Pure Headline Light"/>
                    <a:ea typeface="+mn-ea"/>
                    <a:cs typeface="Times New Roman" panose="02020603050405020304" pitchFamily="18" charset="0"/>
                  </a:endParaRPr>
                </a:p>
              </p:txBody>
            </p:sp>
          </p:grp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05BDCEC-66E9-F302-7F60-312B79C9D99B}"/>
                </a:ext>
              </a:extLst>
            </p:cNvPr>
            <p:cNvSpPr/>
            <p:nvPr/>
          </p:nvSpPr>
          <p:spPr>
            <a:xfrm>
              <a:off x="6539564" y="1508485"/>
              <a:ext cx="45719" cy="2240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300"/>
                </a:spcAft>
                <a:buSzPct val="100000"/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90885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73B2036-A826-48CE-15AC-26464FC5189F}"/>
              </a:ext>
            </a:extLst>
          </p:cNvPr>
          <p:cNvSpPr txBox="1">
            <a:spLocks/>
          </p:cNvSpPr>
          <p:nvPr/>
        </p:nvSpPr>
        <p:spPr>
          <a:xfrm>
            <a:off x="308061" y="299724"/>
            <a:ext cx="8819005" cy="49212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  <a:defRPr/>
            </a:pPr>
            <a:r>
              <a:rPr lang="en-GB" sz="2800" dirty="0">
                <a:solidFill>
                  <a:schemeClr val="accent1"/>
                </a:solidFill>
              </a:rPr>
              <a:t>University 4.0 prototype powered by 5G technology 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Nokia Pure Headline Ligh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D20B24F-6140-A699-FAE1-7FEC43D3E6D2}"/>
              </a:ext>
            </a:extLst>
          </p:cNvPr>
          <p:cNvGrpSpPr/>
          <p:nvPr/>
        </p:nvGrpSpPr>
        <p:grpSpPr>
          <a:xfrm>
            <a:off x="1190317" y="1092201"/>
            <a:ext cx="6721048" cy="4051299"/>
            <a:chOff x="1062566" y="736599"/>
            <a:chExt cx="7243367" cy="440690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DCA9C87-12AF-AC2C-B0C7-A39B08EE10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62566" y="736599"/>
              <a:ext cx="7243367" cy="4406900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F15953D-648F-62E8-EFBB-5A9D7B185D36}"/>
                </a:ext>
              </a:extLst>
            </p:cNvPr>
            <p:cNvSpPr txBox="1"/>
            <p:nvPr/>
          </p:nvSpPr>
          <p:spPr>
            <a:xfrm rot="1665146">
              <a:off x="3990360" y="2642850"/>
              <a:ext cx="1290401" cy="2008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1135">
                      <a:lumMod val="90000"/>
                      <a:lumOff val="10000"/>
                    </a:srgbClr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mart University Campus</a:t>
              </a:r>
              <a:endPara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srgbClr val="001135">
                    <a:lumMod val="90000"/>
                    <a:lumOff val="10000"/>
                  </a:srgbClr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1A95DE39-96AD-6A4D-F544-4C97B3B62A53}"/>
              </a:ext>
            </a:extLst>
          </p:cNvPr>
          <p:cNvSpPr/>
          <p:nvPr/>
        </p:nvSpPr>
        <p:spPr>
          <a:xfrm>
            <a:off x="6302918" y="4529667"/>
            <a:ext cx="2048933" cy="5461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EA25EE43-DE2F-4FF8-BA5F-00F58737BACD}"/>
              </a:ext>
            </a:extLst>
          </p:cNvPr>
          <p:cNvGrpSpPr/>
          <p:nvPr/>
        </p:nvGrpSpPr>
        <p:grpSpPr>
          <a:xfrm>
            <a:off x="308063" y="1184430"/>
            <a:ext cx="2542872" cy="744049"/>
            <a:chOff x="308063" y="939105"/>
            <a:chExt cx="2542872" cy="744049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B14964B3-723F-6DAA-31AA-E9994607FC7A}"/>
                </a:ext>
              </a:extLst>
            </p:cNvPr>
            <p:cNvSpPr/>
            <p:nvPr/>
          </p:nvSpPr>
          <p:spPr>
            <a:xfrm>
              <a:off x="483617" y="939105"/>
              <a:ext cx="2367318" cy="7440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A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Partnerships with High-Tech Industry</a:t>
              </a:r>
            </a:p>
          </p:txBody>
        </p:sp>
        <p:sp>
          <p:nvSpPr>
            <p:cNvPr id="89" name="Ellipse 46">
              <a:extLst>
                <a:ext uri="{FF2B5EF4-FFF2-40B4-BE49-F238E27FC236}">
                  <a16:creationId xmlns:a16="http://schemas.microsoft.com/office/drawing/2014/main" id="{BA43C921-2C66-6999-3885-958F6C6FB53F}"/>
                </a:ext>
              </a:extLst>
            </p:cNvPr>
            <p:cNvSpPr/>
            <p:nvPr/>
          </p:nvSpPr>
          <p:spPr>
            <a:xfrm>
              <a:off x="308063" y="1092200"/>
              <a:ext cx="224498" cy="218930"/>
            </a:xfrm>
            <a:prstGeom prst="ellipse">
              <a:avLst/>
            </a:prstGeom>
            <a:solidFill>
              <a:schemeClr val="accent5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rPr>
                <a:t>1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AF0C9DE-1C30-9F81-7EC9-BD30CC269F41}"/>
              </a:ext>
            </a:extLst>
          </p:cNvPr>
          <p:cNvGrpSpPr/>
          <p:nvPr/>
        </p:nvGrpSpPr>
        <p:grpSpPr>
          <a:xfrm>
            <a:off x="6835949" y="1256179"/>
            <a:ext cx="2048933" cy="300276"/>
            <a:chOff x="6835949" y="1010854"/>
            <a:chExt cx="2048933" cy="300276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F77BD3D-D372-D97C-ED9C-D17FC7CB0093}"/>
                </a:ext>
              </a:extLst>
            </p:cNvPr>
            <p:cNvSpPr/>
            <p:nvPr/>
          </p:nvSpPr>
          <p:spPr>
            <a:xfrm>
              <a:off x="6835949" y="1010854"/>
              <a:ext cx="2048933" cy="3002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A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Technology Integration</a:t>
              </a:r>
            </a:p>
          </p:txBody>
        </p:sp>
        <p:sp>
          <p:nvSpPr>
            <p:cNvPr id="90" name="Ellipse 46">
              <a:extLst>
                <a:ext uri="{FF2B5EF4-FFF2-40B4-BE49-F238E27FC236}">
                  <a16:creationId xmlns:a16="http://schemas.microsoft.com/office/drawing/2014/main" id="{3F353F71-CA07-3893-E514-7706B791C6E4}"/>
                </a:ext>
              </a:extLst>
            </p:cNvPr>
            <p:cNvSpPr/>
            <p:nvPr/>
          </p:nvSpPr>
          <p:spPr>
            <a:xfrm>
              <a:off x="6841068" y="1043661"/>
              <a:ext cx="224498" cy="218930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rPr>
                <a:t>2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8F4AC2F-982E-AF84-7093-CB79AF58EB6A}"/>
              </a:ext>
            </a:extLst>
          </p:cNvPr>
          <p:cNvGrpSpPr/>
          <p:nvPr/>
        </p:nvGrpSpPr>
        <p:grpSpPr>
          <a:xfrm>
            <a:off x="330178" y="4363143"/>
            <a:ext cx="3008198" cy="393855"/>
            <a:chOff x="330178" y="4363143"/>
            <a:chExt cx="3008198" cy="393855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536E28C5-FC7C-9D88-4327-32D9E8EC603B}"/>
                </a:ext>
              </a:extLst>
            </p:cNvPr>
            <p:cNvSpPr/>
            <p:nvPr/>
          </p:nvSpPr>
          <p:spPr>
            <a:xfrm>
              <a:off x="532561" y="4363143"/>
              <a:ext cx="2805815" cy="3938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A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Problem-Oriented Approach</a:t>
              </a:r>
            </a:p>
          </p:txBody>
        </p:sp>
        <p:sp>
          <p:nvSpPr>
            <p:cNvPr id="91" name="Ellipse 46">
              <a:extLst>
                <a:ext uri="{FF2B5EF4-FFF2-40B4-BE49-F238E27FC236}">
                  <a16:creationId xmlns:a16="http://schemas.microsoft.com/office/drawing/2014/main" id="{9441B3E5-D870-4B36-1C35-1CF2F6D4B255}"/>
                </a:ext>
              </a:extLst>
            </p:cNvPr>
            <p:cNvSpPr/>
            <p:nvPr/>
          </p:nvSpPr>
          <p:spPr>
            <a:xfrm>
              <a:off x="330178" y="4438806"/>
              <a:ext cx="224498" cy="21893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rPr>
                <a:t>3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D8FA37A8-841D-370D-15A5-996D2A0506FC}"/>
              </a:ext>
            </a:extLst>
          </p:cNvPr>
          <p:cNvGrpSpPr/>
          <p:nvPr/>
        </p:nvGrpSpPr>
        <p:grpSpPr>
          <a:xfrm>
            <a:off x="6730998" y="4363143"/>
            <a:ext cx="2153884" cy="323787"/>
            <a:chOff x="6730998" y="4363143"/>
            <a:chExt cx="2153884" cy="323787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214DE934-2130-93A4-D2FD-64CA3D3AE574}"/>
                </a:ext>
              </a:extLst>
            </p:cNvPr>
            <p:cNvSpPr/>
            <p:nvPr/>
          </p:nvSpPr>
          <p:spPr>
            <a:xfrm>
              <a:off x="6835949" y="4363143"/>
              <a:ext cx="2048933" cy="3237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AFF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rPr>
                <a:t>Product-Oriented Focus</a:t>
              </a:r>
            </a:p>
          </p:txBody>
        </p:sp>
        <p:sp>
          <p:nvSpPr>
            <p:cNvPr id="92" name="Ellipse 46">
              <a:extLst>
                <a:ext uri="{FF2B5EF4-FFF2-40B4-BE49-F238E27FC236}">
                  <a16:creationId xmlns:a16="http://schemas.microsoft.com/office/drawing/2014/main" id="{E570C1F5-A864-64E4-ADB7-95E88C7779D2}"/>
                </a:ext>
              </a:extLst>
            </p:cNvPr>
            <p:cNvSpPr/>
            <p:nvPr/>
          </p:nvSpPr>
          <p:spPr>
            <a:xfrm>
              <a:off x="6730998" y="4413406"/>
              <a:ext cx="224498" cy="218930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Nokia Pure Text Light" panose="020B0403020202020204" pitchFamily="34" charset="0"/>
                  <a:ea typeface="Nokia Pure Text Light" panose="020B0403020202020204" pitchFamily="34" charset="0"/>
                  <a:cs typeface="+mn-cs"/>
                </a:rPr>
                <a:t>4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EAD0BDEF-9840-B6BD-3D62-F76F1B26A759}"/>
              </a:ext>
            </a:extLst>
          </p:cNvPr>
          <p:cNvSpPr txBox="1"/>
          <p:nvPr/>
        </p:nvSpPr>
        <p:spPr>
          <a:xfrm>
            <a:off x="7296173" y="1487339"/>
            <a:ext cx="1629944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7CC73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Enhanced Connectivity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79227C9-E062-B3EB-83CE-0235BB8E1186}"/>
              </a:ext>
            </a:extLst>
          </p:cNvPr>
          <p:cNvSpPr txBox="1"/>
          <p:nvPr/>
        </p:nvSpPr>
        <p:spPr>
          <a:xfrm>
            <a:off x="447499" y="1751128"/>
            <a:ext cx="2565400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7CC73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Improved Learning Experienc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0ACBA402-CD16-DA30-F874-EC3C60AFC25D}"/>
              </a:ext>
            </a:extLst>
          </p:cNvPr>
          <p:cNvSpPr txBox="1"/>
          <p:nvPr/>
        </p:nvSpPr>
        <p:spPr>
          <a:xfrm>
            <a:off x="7384430" y="4618498"/>
            <a:ext cx="1536570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7CC73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Enabler for R+D+I+E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F3E3BA9-0BC7-D96C-F99B-44C90950D86F}"/>
              </a:ext>
            </a:extLst>
          </p:cNvPr>
          <p:cNvSpPr txBox="1"/>
          <p:nvPr/>
        </p:nvSpPr>
        <p:spPr>
          <a:xfrm>
            <a:off x="6717415" y="4184937"/>
            <a:ext cx="2285999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7CC73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Sustainable Campus Initiative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0E5925A-22B5-E461-A83E-07776EC80775}"/>
              </a:ext>
            </a:extLst>
          </p:cNvPr>
          <p:cNvSpPr txBox="1"/>
          <p:nvPr/>
        </p:nvSpPr>
        <p:spPr>
          <a:xfrm>
            <a:off x="502120" y="4233440"/>
            <a:ext cx="1614951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7CC73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Efficient Operations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CA6D3910-FC07-11CB-1444-5E05C5EB1194}"/>
              </a:ext>
            </a:extLst>
          </p:cNvPr>
          <p:cNvSpPr txBox="1"/>
          <p:nvPr/>
        </p:nvSpPr>
        <p:spPr>
          <a:xfrm>
            <a:off x="527489" y="4657736"/>
            <a:ext cx="2336932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7CC73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Data-Driven decision-making  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ABB4D2E9-729E-F883-4422-6F18E48019BD}"/>
              </a:ext>
            </a:extLst>
          </p:cNvPr>
          <p:cNvSpPr txBox="1"/>
          <p:nvPr/>
        </p:nvSpPr>
        <p:spPr>
          <a:xfrm>
            <a:off x="-118533" y="419100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1135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4342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" grpId="0"/>
      <p:bldP spid="96" grpId="0"/>
      <p:bldP spid="98" grpId="0"/>
      <p:bldP spid="100" grpId="0"/>
      <p:bldP spid="102" grpId="0"/>
      <p:bldP spid="10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DCA9C87-12AF-AC2C-B0C7-A39B08EE1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8769" y="747152"/>
            <a:ext cx="7142528" cy="4345549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073B2036-A826-48CE-15AC-26464FC5189F}"/>
              </a:ext>
            </a:extLst>
          </p:cNvPr>
          <p:cNvSpPr txBox="1">
            <a:spLocks/>
          </p:cNvSpPr>
          <p:nvPr/>
        </p:nvSpPr>
        <p:spPr>
          <a:xfrm>
            <a:off x="308062" y="323787"/>
            <a:ext cx="8835938" cy="492124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AFF"/>
                </a:solidFill>
                <a:effectLst/>
                <a:uLnTx/>
                <a:uFillTx/>
                <a:latin typeface="Nokia Pure Headline Light"/>
                <a:ea typeface="+mn-ea"/>
                <a:cs typeface="+mn-cs"/>
              </a:rPr>
              <a:t>University 4.0 use cases: Integrating 5G for next-generation learning camp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159FDD-29AB-1CC1-B20F-D967ECF4BD35}"/>
              </a:ext>
            </a:extLst>
          </p:cNvPr>
          <p:cNvSpPr/>
          <p:nvPr/>
        </p:nvSpPr>
        <p:spPr>
          <a:xfrm>
            <a:off x="6383383" y="4458789"/>
            <a:ext cx="2210615" cy="6847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06F6FAE-5361-762F-DAD1-6B5938DF6135}"/>
              </a:ext>
            </a:extLst>
          </p:cNvPr>
          <p:cNvGrpSpPr/>
          <p:nvPr/>
        </p:nvGrpSpPr>
        <p:grpSpPr>
          <a:xfrm>
            <a:off x="6499982" y="3945467"/>
            <a:ext cx="2804885" cy="944373"/>
            <a:chOff x="6499982" y="3945467"/>
            <a:chExt cx="2804885" cy="94437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CC15F87-6BC2-54EE-B348-AC1E5417B7CF}"/>
                </a:ext>
              </a:extLst>
            </p:cNvPr>
            <p:cNvSpPr txBox="1"/>
            <p:nvPr/>
          </p:nvSpPr>
          <p:spPr>
            <a:xfrm>
              <a:off x="6728453" y="4499474"/>
              <a:ext cx="1990588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mart University Campus</a:t>
              </a: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4A65B20-7FC3-AB68-F91F-772FE6AFFC3D}"/>
                </a:ext>
              </a:extLst>
            </p:cNvPr>
            <p:cNvCxnSpPr>
              <a:cxnSpLocks/>
              <a:stCxn id="12" idx="4"/>
            </p:cNvCxnSpPr>
            <p:nvPr/>
          </p:nvCxnSpPr>
          <p:spPr>
            <a:xfrm flipH="1" flipV="1">
              <a:off x="6633492" y="3945467"/>
              <a:ext cx="10490" cy="944373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A4941A3-4B32-F70B-1122-F907CA769E1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633492" y="4745840"/>
              <a:ext cx="1980151" cy="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Ellipse 46">
              <a:extLst>
                <a:ext uri="{FF2B5EF4-FFF2-40B4-BE49-F238E27FC236}">
                  <a16:creationId xmlns:a16="http://schemas.microsoft.com/office/drawing/2014/main" id="{886B95EA-D071-0C4C-BCB3-73D20460BA4E}"/>
                </a:ext>
              </a:extLst>
            </p:cNvPr>
            <p:cNvSpPr/>
            <p:nvPr/>
          </p:nvSpPr>
          <p:spPr>
            <a:xfrm>
              <a:off x="6499982" y="4601840"/>
              <a:ext cx="288000" cy="288000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AT" sz="1200" b="1" dirty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rPr>
                <a:t>1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FB3D268-4694-2915-8514-F0B0729560DA}"/>
                </a:ext>
              </a:extLst>
            </p:cNvPr>
            <p:cNvSpPr txBox="1"/>
            <p:nvPr/>
          </p:nvSpPr>
          <p:spPr>
            <a:xfrm>
              <a:off x="9304867" y="4512733"/>
              <a:ext cx="0" cy="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5035451-9EA7-E111-3700-024D2334A8FE}"/>
              </a:ext>
            </a:extLst>
          </p:cNvPr>
          <p:cNvGrpSpPr/>
          <p:nvPr/>
        </p:nvGrpSpPr>
        <p:grpSpPr>
          <a:xfrm>
            <a:off x="300084" y="4118395"/>
            <a:ext cx="2324501" cy="691218"/>
            <a:chOff x="300084" y="4118395"/>
            <a:chExt cx="2324501" cy="69121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A8687E7-AE14-873A-B210-1272F62EC21D}"/>
                </a:ext>
              </a:extLst>
            </p:cNvPr>
            <p:cNvSpPr txBox="1"/>
            <p:nvPr/>
          </p:nvSpPr>
          <p:spPr>
            <a:xfrm>
              <a:off x="300084" y="4501163"/>
              <a:ext cx="2163133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Industry 4.0 learning campus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B585B11-7C09-E951-AFBD-3F2BEE6E9C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0084" y="4724946"/>
              <a:ext cx="2078678" cy="12271"/>
            </a:xfrm>
            <a:prstGeom prst="line">
              <a:avLst/>
            </a:prstGeom>
            <a:ln w="63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B2D712F-99FB-E27B-C8A1-ACD52FB2FC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80585" y="4118395"/>
              <a:ext cx="0" cy="585111"/>
            </a:xfrm>
            <a:prstGeom prst="line">
              <a:avLst/>
            </a:prstGeom>
            <a:ln w="63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Ellipse 46">
              <a:extLst>
                <a:ext uri="{FF2B5EF4-FFF2-40B4-BE49-F238E27FC236}">
                  <a16:creationId xmlns:a16="http://schemas.microsoft.com/office/drawing/2014/main" id="{6157F188-AD86-F16E-1343-A65AEFAB150D}"/>
                </a:ext>
              </a:extLst>
            </p:cNvPr>
            <p:cNvSpPr/>
            <p:nvPr/>
          </p:nvSpPr>
          <p:spPr>
            <a:xfrm>
              <a:off x="2336585" y="4521613"/>
              <a:ext cx="288000" cy="288000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rPr>
                <a:t>2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3C2079C-5481-97A6-C8C8-2388A8AEC414}"/>
              </a:ext>
            </a:extLst>
          </p:cNvPr>
          <p:cNvGrpSpPr/>
          <p:nvPr/>
        </p:nvGrpSpPr>
        <p:grpSpPr>
          <a:xfrm>
            <a:off x="137590" y="1136846"/>
            <a:ext cx="2698743" cy="392090"/>
            <a:chOff x="137590" y="1077577"/>
            <a:chExt cx="2698743" cy="39209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B9ECC16-B053-57FC-7DA3-D1D8282D6B58}"/>
                </a:ext>
              </a:extLst>
            </p:cNvPr>
            <p:cNvSpPr txBox="1"/>
            <p:nvPr/>
          </p:nvSpPr>
          <p:spPr>
            <a:xfrm>
              <a:off x="137590" y="1077577"/>
              <a:ext cx="2342995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ustainable Living and Mobility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5DDFB59-F702-B99B-E99A-F4B18D4B43E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458408" y="1270831"/>
              <a:ext cx="377925" cy="150973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00CB3EB-8299-B2A2-16DF-FDE1BA93A9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11667" y="1309374"/>
              <a:ext cx="2246741" cy="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Ellipse 46">
              <a:extLst>
                <a:ext uri="{FF2B5EF4-FFF2-40B4-BE49-F238E27FC236}">
                  <a16:creationId xmlns:a16="http://schemas.microsoft.com/office/drawing/2014/main" id="{7D2A4A43-1848-07B7-FCA3-9947AD49B90C}"/>
                </a:ext>
              </a:extLst>
            </p:cNvPr>
            <p:cNvSpPr/>
            <p:nvPr/>
          </p:nvSpPr>
          <p:spPr>
            <a:xfrm>
              <a:off x="2314408" y="1181667"/>
              <a:ext cx="288000" cy="288000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AT" sz="1200" b="1" dirty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rPr>
                <a:t>3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B428CD71-5A12-7841-A8FA-20010E40AFBA}"/>
              </a:ext>
            </a:extLst>
          </p:cNvPr>
          <p:cNvGrpSpPr/>
          <p:nvPr/>
        </p:nvGrpSpPr>
        <p:grpSpPr>
          <a:xfrm>
            <a:off x="6887085" y="1152256"/>
            <a:ext cx="2343824" cy="657147"/>
            <a:chOff x="6887085" y="1092987"/>
            <a:chExt cx="2343824" cy="657147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C783E595-432B-724A-9EE9-48C7823B919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07573" y="1407671"/>
              <a:ext cx="0" cy="342463"/>
            </a:xfrm>
            <a:prstGeom prst="line">
              <a:avLst/>
            </a:prstGeom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Ellipse 46">
              <a:extLst>
                <a:ext uri="{FF2B5EF4-FFF2-40B4-BE49-F238E27FC236}">
                  <a16:creationId xmlns:a16="http://schemas.microsoft.com/office/drawing/2014/main" id="{F73C12A1-4ACD-60E6-1221-E225A28F2CE4}"/>
                </a:ext>
              </a:extLst>
            </p:cNvPr>
            <p:cNvSpPr/>
            <p:nvPr/>
          </p:nvSpPr>
          <p:spPr>
            <a:xfrm>
              <a:off x="6887085" y="1157443"/>
              <a:ext cx="288000" cy="288000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AT" sz="1200" b="1" dirty="0">
                  <a:solidFill>
                    <a:srgbClr val="FFFFFF"/>
                  </a:solidFill>
                  <a:latin typeface="Nokia Pure Text Light" panose="020B0403020202020204" pitchFamily="34" charset="0"/>
                  <a:ea typeface="Nokia Pure Text Light" panose="020B0403020202020204" pitchFamily="34" charset="0"/>
                </a:rPr>
                <a:t>4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EB33C8F-C5A7-6635-BB58-F12D50E8D159}"/>
                </a:ext>
              </a:extLst>
            </p:cNvPr>
            <p:cNvSpPr txBox="1"/>
            <p:nvPr/>
          </p:nvSpPr>
          <p:spPr>
            <a:xfrm>
              <a:off x="7091053" y="1092987"/>
              <a:ext cx="2139856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Entrepreneurship hub </a:t>
              </a: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588FB787-E3C1-F2D2-62E8-A289315382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75085" y="1309374"/>
              <a:ext cx="1660853" cy="5461"/>
            </a:xfrm>
            <a:prstGeom prst="line">
              <a:avLst/>
            </a:prstGeom>
            <a:ln w="63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3F15953D-648F-62E8-EFBB-5A9D7B185D36}"/>
              </a:ext>
            </a:extLst>
          </p:cNvPr>
          <p:cNvSpPr txBox="1"/>
          <p:nvPr/>
        </p:nvSpPr>
        <p:spPr>
          <a:xfrm rot="1665146">
            <a:off x="4067067" y="2595350"/>
            <a:ext cx="111053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srgbClr val="001135">
                    <a:lumMod val="90000"/>
                    <a:lumOff val="10000"/>
                  </a:srgbClr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Smart University Campus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srgbClr val="001135">
                  <a:lumMod val="90000"/>
                  <a:lumOff val="10000"/>
                </a:srgbClr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EE6DC71-BA0F-2FE1-5323-AD7D18D35440}"/>
              </a:ext>
            </a:extLst>
          </p:cNvPr>
          <p:cNvGrpSpPr/>
          <p:nvPr/>
        </p:nvGrpSpPr>
        <p:grpSpPr>
          <a:xfrm>
            <a:off x="2586666" y="4249045"/>
            <a:ext cx="1192893" cy="200055"/>
            <a:chOff x="2586666" y="4249045"/>
            <a:chExt cx="1192893" cy="200055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3CB5791-A165-3ED1-14C3-86AFA2FC814A}"/>
                </a:ext>
              </a:extLst>
            </p:cNvPr>
            <p:cNvSpPr txBox="1"/>
            <p:nvPr/>
          </p:nvSpPr>
          <p:spPr>
            <a:xfrm>
              <a:off x="2586666" y="4249045"/>
              <a:ext cx="1192893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mart construction</a:t>
              </a:r>
              <a:endPara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2" name="Ellipse 46">
              <a:extLst>
                <a:ext uri="{FF2B5EF4-FFF2-40B4-BE49-F238E27FC236}">
                  <a16:creationId xmlns:a16="http://schemas.microsoft.com/office/drawing/2014/main" id="{D1EC1E43-844B-C72A-0C0E-6D80112BA867}"/>
                </a:ext>
              </a:extLst>
            </p:cNvPr>
            <p:cNvSpPr/>
            <p:nvPr/>
          </p:nvSpPr>
          <p:spPr>
            <a:xfrm>
              <a:off x="3517489" y="4292664"/>
              <a:ext cx="104215" cy="104272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2298870-D4C8-4290-2C2D-547BEC611BAC}"/>
              </a:ext>
            </a:extLst>
          </p:cNvPr>
          <p:cNvGrpSpPr/>
          <p:nvPr/>
        </p:nvGrpSpPr>
        <p:grpSpPr>
          <a:xfrm>
            <a:off x="627208" y="3638885"/>
            <a:ext cx="700025" cy="200055"/>
            <a:chOff x="627208" y="3638885"/>
            <a:chExt cx="700025" cy="200055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2F4E912A-1C80-ACFA-E9EE-9F870E2CBC21}"/>
                </a:ext>
              </a:extLst>
            </p:cNvPr>
            <p:cNvSpPr txBox="1"/>
            <p:nvPr/>
          </p:nvSpPr>
          <p:spPr>
            <a:xfrm>
              <a:off x="627208" y="3638885"/>
              <a:ext cx="696008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mart Port</a:t>
              </a:r>
              <a:endPara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5" name="Ellipse 46">
              <a:extLst>
                <a:ext uri="{FF2B5EF4-FFF2-40B4-BE49-F238E27FC236}">
                  <a16:creationId xmlns:a16="http://schemas.microsoft.com/office/drawing/2014/main" id="{FFBAE1EB-84DA-EC96-76EC-14C4CC6C43ED}"/>
                </a:ext>
              </a:extLst>
            </p:cNvPr>
            <p:cNvSpPr/>
            <p:nvPr/>
          </p:nvSpPr>
          <p:spPr>
            <a:xfrm>
              <a:off x="1223018" y="3674594"/>
              <a:ext cx="104215" cy="104272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F6B9435-F393-DC0F-A0C1-DE098B486066}"/>
              </a:ext>
            </a:extLst>
          </p:cNvPr>
          <p:cNvGrpSpPr/>
          <p:nvPr/>
        </p:nvGrpSpPr>
        <p:grpSpPr>
          <a:xfrm>
            <a:off x="76910" y="2637349"/>
            <a:ext cx="987856" cy="200055"/>
            <a:chOff x="76910" y="2637349"/>
            <a:chExt cx="987856" cy="200055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927FFC10-6A3E-8AE5-5334-F14839BC1DAA}"/>
                </a:ext>
              </a:extLst>
            </p:cNvPr>
            <p:cNvSpPr txBox="1"/>
            <p:nvPr/>
          </p:nvSpPr>
          <p:spPr>
            <a:xfrm>
              <a:off x="76910" y="2637349"/>
              <a:ext cx="985656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mart Agriculture</a:t>
              </a:r>
              <a:endPara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" name="Ellipse 46">
              <a:extLst>
                <a:ext uri="{FF2B5EF4-FFF2-40B4-BE49-F238E27FC236}">
                  <a16:creationId xmlns:a16="http://schemas.microsoft.com/office/drawing/2014/main" id="{2D54181E-7E01-D79F-FD92-311FD8230842}"/>
                </a:ext>
              </a:extLst>
            </p:cNvPr>
            <p:cNvSpPr/>
            <p:nvPr/>
          </p:nvSpPr>
          <p:spPr>
            <a:xfrm>
              <a:off x="960551" y="2675527"/>
              <a:ext cx="104215" cy="104272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5C9BE8A-0E23-10EF-53E0-C3C9AB0855A6}"/>
              </a:ext>
            </a:extLst>
          </p:cNvPr>
          <p:cNvGrpSpPr/>
          <p:nvPr/>
        </p:nvGrpSpPr>
        <p:grpSpPr>
          <a:xfrm>
            <a:off x="5782094" y="1298428"/>
            <a:ext cx="880482" cy="200055"/>
            <a:chOff x="5782094" y="1239159"/>
            <a:chExt cx="880482" cy="200055"/>
          </a:xfrm>
        </p:grpSpPr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5938C75-7A61-83D2-379A-8EE9FAF1DF7D}"/>
                </a:ext>
              </a:extLst>
            </p:cNvPr>
            <p:cNvSpPr txBox="1"/>
            <p:nvPr/>
          </p:nvSpPr>
          <p:spPr>
            <a:xfrm>
              <a:off x="5883245" y="1239159"/>
              <a:ext cx="779331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mart factory</a:t>
              </a:r>
              <a:endPara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0" name="Ellipse 46">
              <a:extLst>
                <a:ext uri="{FF2B5EF4-FFF2-40B4-BE49-F238E27FC236}">
                  <a16:creationId xmlns:a16="http://schemas.microsoft.com/office/drawing/2014/main" id="{B201CF34-84F4-D4BC-44A5-329BCCCA1CD6}"/>
                </a:ext>
              </a:extLst>
            </p:cNvPr>
            <p:cNvSpPr/>
            <p:nvPr/>
          </p:nvSpPr>
          <p:spPr>
            <a:xfrm>
              <a:off x="5782094" y="1272222"/>
              <a:ext cx="137565" cy="135449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C3FEE47-283C-5264-01B9-EECC1143C303}"/>
              </a:ext>
            </a:extLst>
          </p:cNvPr>
          <p:cNvGrpSpPr/>
          <p:nvPr/>
        </p:nvGrpSpPr>
        <p:grpSpPr>
          <a:xfrm>
            <a:off x="8092198" y="2255479"/>
            <a:ext cx="976217" cy="184666"/>
            <a:chOff x="8092198" y="2255479"/>
            <a:chExt cx="976217" cy="184666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9EF2200-EF2B-583F-E16C-3FFCF8E47C68}"/>
                </a:ext>
              </a:extLst>
            </p:cNvPr>
            <p:cNvSpPr txBox="1"/>
            <p:nvPr/>
          </p:nvSpPr>
          <p:spPr>
            <a:xfrm>
              <a:off x="8169959" y="2255479"/>
              <a:ext cx="898456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mart Hospital</a:t>
              </a: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00113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6" name="Ellipse 46">
              <a:extLst>
                <a:ext uri="{FF2B5EF4-FFF2-40B4-BE49-F238E27FC236}">
                  <a16:creationId xmlns:a16="http://schemas.microsoft.com/office/drawing/2014/main" id="{4608A823-955A-AC2F-79F3-9974348AF102}"/>
                </a:ext>
              </a:extLst>
            </p:cNvPr>
            <p:cNvSpPr/>
            <p:nvPr/>
          </p:nvSpPr>
          <p:spPr>
            <a:xfrm>
              <a:off x="8092198" y="2286363"/>
              <a:ext cx="137565" cy="135449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583B1ABB-33E0-DEBC-3771-EAA9A7025FE1}"/>
              </a:ext>
            </a:extLst>
          </p:cNvPr>
          <p:cNvGrpSpPr/>
          <p:nvPr/>
        </p:nvGrpSpPr>
        <p:grpSpPr>
          <a:xfrm>
            <a:off x="4859227" y="901252"/>
            <a:ext cx="1123221" cy="200055"/>
            <a:chOff x="4859227" y="841983"/>
            <a:chExt cx="1123221" cy="200055"/>
          </a:xfrm>
        </p:grpSpPr>
        <p:sp>
          <p:nvSpPr>
            <p:cNvPr id="73" name="Ellipse 46">
              <a:extLst>
                <a:ext uri="{FF2B5EF4-FFF2-40B4-BE49-F238E27FC236}">
                  <a16:creationId xmlns:a16="http://schemas.microsoft.com/office/drawing/2014/main" id="{6DF4A5EC-9B95-B78F-9871-31ADBDCD8A81}"/>
                </a:ext>
              </a:extLst>
            </p:cNvPr>
            <p:cNvSpPr/>
            <p:nvPr/>
          </p:nvSpPr>
          <p:spPr>
            <a:xfrm>
              <a:off x="4859227" y="874287"/>
              <a:ext cx="137565" cy="135449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okia Pure Text Light" panose="020B0403020202020204" pitchFamily="34" charset="0"/>
                <a:ea typeface="Nokia Pure Text Light" panose="020B0403020202020204" pitchFamily="34" charset="0"/>
                <a:cs typeface="+mn-cs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D4CCAFC5-89A3-50FE-9430-93322BCB4F90}"/>
                </a:ext>
              </a:extLst>
            </p:cNvPr>
            <p:cNvSpPr txBox="1"/>
            <p:nvPr/>
          </p:nvSpPr>
          <p:spPr>
            <a:xfrm>
              <a:off x="4933026" y="841983"/>
              <a:ext cx="1049422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0113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mart Sport Aren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9502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8579BA6D-14F6-4A93-4869-7206B395B3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6212" y="358774"/>
            <a:ext cx="8308800" cy="414956"/>
          </a:xfrm>
          <a:prstGeom prst="rect">
            <a:avLst/>
          </a:prstGeom>
        </p:spPr>
        <p:txBody>
          <a:bodyPr/>
          <a:lstStyle/>
          <a:p>
            <a:r>
              <a:rPr lang="en-US" sz="3200" dirty="0"/>
              <a:t>What’s wrong with today’s Wi-Fi network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2CEAC1-5591-6E22-55C6-0E1DBE49FBB1}"/>
              </a:ext>
            </a:extLst>
          </p:cNvPr>
          <p:cNvSpPr txBox="1"/>
          <p:nvPr/>
        </p:nvSpPr>
        <p:spPr>
          <a:xfrm>
            <a:off x="1097520" y="1316186"/>
            <a:ext cx="2003676" cy="117724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2800" dirty="0">
                <a:solidFill>
                  <a:srgbClr val="FFFFFF"/>
                </a:solidFill>
                <a:latin typeface="Nokia Pure Text Light"/>
              </a:rPr>
              <a:t>Latency</a:t>
            </a:r>
            <a:r>
              <a:rPr lang="en-GB" sz="1400" dirty="0">
                <a:solidFill>
                  <a:srgbClr val="FFFFFF"/>
                </a:solidFill>
                <a:latin typeface="Nokia Pure Text Light"/>
              </a:rPr>
              <a:t> </a:t>
            </a:r>
          </a:p>
          <a:p>
            <a:pPr defTabSz="685800">
              <a:defRPr/>
            </a:pPr>
            <a:endParaRPr lang="en-GB" sz="105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r>
              <a:rPr lang="en-US" sz="1200" dirty="0">
                <a:solidFill>
                  <a:srgbClr val="FFFFFF"/>
                </a:solidFill>
                <a:latin typeface="Nokia Pure Text Light"/>
              </a:rPr>
              <a:t>Higher latency impacts real-time. (1-100 </a:t>
            </a:r>
            <a:r>
              <a:rPr lang="en-US" sz="1200" dirty="0" err="1">
                <a:solidFill>
                  <a:srgbClr val="FFFFFF"/>
                </a:solidFill>
                <a:latin typeface="Nokia Pure Text Light"/>
              </a:rPr>
              <a:t>ms</a:t>
            </a:r>
            <a:r>
              <a:rPr lang="en-US" sz="1200" dirty="0">
                <a:solidFill>
                  <a:srgbClr val="FFFFFF"/>
                </a:solidFill>
                <a:latin typeface="Nokia Pure Text Light"/>
              </a:rPr>
              <a:t> )</a:t>
            </a:r>
          </a:p>
          <a:p>
            <a:pPr defTabSz="685800">
              <a:defRPr/>
            </a:pPr>
            <a:r>
              <a:rPr lang="en-US" sz="800" dirty="0">
                <a:solidFill>
                  <a:srgbClr val="FFFFFF"/>
                </a:solidFill>
                <a:latin typeface="Nokia Pure Text Light"/>
              </a:rPr>
              <a:t>5G: &lt;10m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D14ED11-3067-DCBF-9FA0-DB20D82CE8F4}"/>
              </a:ext>
            </a:extLst>
          </p:cNvPr>
          <p:cNvCxnSpPr>
            <a:cxnSpLocks/>
          </p:cNvCxnSpPr>
          <p:nvPr/>
        </p:nvCxnSpPr>
        <p:spPr>
          <a:xfrm>
            <a:off x="409575" y="2754918"/>
            <a:ext cx="8324850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1708FC-1CEF-1C3F-F0D3-0957ED11D997}"/>
              </a:ext>
            </a:extLst>
          </p:cNvPr>
          <p:cNvCxnSpPr>
            <a:cxnSpLocks/>
          </p:cNvCxnSpPr>
          <p:nvPr/>
        </p:nvCxnSpPr>
        <p:spPr>
          <a:xfrm>
            <a:off x="3154049" y="1236447"/>
            <a:ext cx="0" cy="3166247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1205BEE-4C20-2FB2-63AF-B50E7DBED9BB}"/>
              </a:ext>
            </a:extLst>
          </p:cNvPr>
          <p:cNvCxnSpPr>
            <a:cxnSpLocks/>
          </p:cNvCxnSpPr>
          <p:nvPr/>
        </p:nvCxnSpPr>
        <p:spPr>
          <a:xfrm>
            <a:off x="5999608" y="1236447"/>
            <a:ext cx="0" cy="3064963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7E7ECA3F-5148-46D4-4C38-186D4E0C3E9E}"/>
              </a:ext>
            </a:extLst>
          </p:cNvPr>
          <p:cNvSpPr txBox="1"/>
          <p:nvPr/>
        </p:nvSpPr>
        <p:spPr>
          <a:xfrm>
            <a:off x="3936977" y="1316186"/>
            <a:ext cx="2126229" cy="117724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2800" dirty="0">
                <a:solidFill>
                  <a:srgbClr val="FFFFFF"/>
                </a:solidFill>
                <a:latin typeface="Nokia Pure Text Light"/>
              </a:rPr>
              <a:t>Capacity</a:t>
            </a:r>
            <a:endParaRPr lang="en-GB" sz="140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endParaRPr lang="en-GB" sz="105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r>
              <a:rPr lang="en-US" sz="1200" dirty="0">
                <a:solidFill>
                  <a:srgbClr val="FFFFFF"/>
                </a:solidFill>
                <a:latin typeface="Nokia Pure Text Light"/>
              </a:rPr>
              <a:t>Limited connections per access point (30).</a:t>
            </a:r>
          </a:p>
          <a:p>
            <a:pPr defTabSz="685800">
              <a:defRPr/>
            </a:pPr>
            <a:r>
              <a:rPr lang="en-US" sz="800" dirty="0">
                <a:solidFill>
                  <a:srgbClr val="FFFFFF"/>
                </a:solidFill>
                <a:latin typeface="Nokia Pure Text Light"/>
              </a:rPr>
              <a:t>5G: 800 Connection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9AB3E6E-50C2-5AF0-2264-41764D3221C7}"/>
              </a:ext>
            </a:extLst>
          </p:cNvPr>
          <p:cNvSpPr txBox="1"/>
          <p:nvPr/>
        </p:nvSpPr>
        <p:spPr>
          <a:xfrm>
            <a:off x="6526429" y="1316186"/>
            <a:ext cx="2141707" cy="139268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2800" dirty="0">
                <a:solidFill>
                  <a:srgbClr val="FFFFFF"/>
                </a:solidFill>
                <a:latin typeface="Nokia Pure Text Light"/>
              </a:rPr>
              <a:t>Coverage</a:t>
            </a:r>
            <a:endParaRPr lang="en-GB" sz="140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endParaRPr lang="en-GB" sz="105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r>
              <a:rPr lang="en-US" sz="1200" dirty="0">
                <a:solidFill>
                  <a:srgbClr val="FFFFFF"/>
                </a:solidFill>
                <a:latin typeface="Nokia Pure Text Light"/>
              </a:rPr>
              <a:t>Limited range and dead zones.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~50-100 meters</a:t>
            </a:r>
            <a:r>
              <a:rPr lang="en-US" sz="1200" dirty="0">
                <a:solidFill>
                  <a:srgbClr val="FFFFFF"/>
                </a:solidFill>
                <a:latin typeface="Nokia Pure Text Light"/>
              </a:rPr>
              <a:t>)</a:t>
            </a:r>
          </a:p>
          <a:p>
            <a:pPr defTabSz="685800">
              <a:defRPr/>
            </a:pPr>
            <a:r>
              <a:rPr lang="en-US" sz="800" dirty="0">
                <a:solidFill>
                  <a:srgbClr val="FFFFFF"/>
                </a:solidFill>
                <a:latin typeface="Nokia Pure Text Light"/>
              </a:rPr>
              <a:t>5G: up to 30Km</a:t>
            </a:r>
          </a:p>
          <a:p>
            <a:pPr defTabSz="685800">
              <a:defRPr/>
            </a:pPr>
            <a:endParaRPr lang="en-US" sz="1400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770E261-9EDE-1C16-1D44-1BC404756DB1}"/>
              </a:ext>
            </a:extLst>
          </p:cNvPr>
          <p:cNvSpPr txBox="1"/>
          <p:nvPr/>
        </p:nvSpPr>
        <p:spPr>
          <a:xfrm>
            <a:off x="1097520" y="3165589"/>
            <a:ext cx="2003676" cy="130035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2800" dirty="0">
                <a:solidFill>
                  <a:srgbClr val="FFFFFF"/>
                </a:solidFill>
                <a:latin typeface="Nokia Pure Text Light"/>
              </a:rPr>
              <a:t>Mobility</a:t>
            </a:r>
            <a:endParaRPr lang="en-GB" sz="140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endParaRPr lang="en-GB" sz="105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r>
              <a:rPr lang="en-US" sz="1200" dirty="0">
                <a:solidFill>
                  <a:srgbClr val="FFFFFF"/>
                </a:solidFill>
                <a:latin typeface="Nokia Pure Text Light"/>
              </a:rPr>
              <a:t>Connection loss up to 15 seconds</a:t>
            </a:r>
          </a:p>
          <a:p>
            <a:pPr defTabSz="685800">
              <a:defRPr/>
            </a:pPr>
            <a:r>
              <a:rPr lang="en-US" sz="800" dirty="0">
                <a:solidFill>
                  <a:srgbClr val="FFFFFF"/>
                </a:solidFill>
                <a:latin typeface="Nokia Pure Text Light"/>
              </a:rPr>
              <a:t>5G: </a:t>
            </a:r>
            <a:r>
              <a:rPr lang="en-US" sz="800" dirty="0">
                <a:solidFill>
                  <a:schemeClr val="bg1"/>
                </a:solidFill>
                <a:latin typeface="+mj-lt"/>
              </a:rPr>
              <a:t>U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 to 350 km/h</a:t>
            </a:r>
          </a:p>
          <a:p>
            <a:pPr defTabSz="685800">
              <a:defRPr/>
            </a:pPr>
            <a:endParaRPr lang="en-US" sz="800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DA41DAD-3FA5-36AB-E5BF-A63F8A9C3963}"/>
              </a:ext>
            </a:extLst>
          </p:cNvPr>
          <p:cNvSpPr txBox="1"/>
          <p:nvPr/>
        </p:nvSpPr>
        <p:spPr>
          <a:xfrm>
            <a:off x="3936977" y="3165589"/>
            <a:ext cx="1905208" cy="160813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2800" dirty="0">
                <a:solidFill>
                  <a:srgbClr val="FFFFFF"/>
                </a:solidFill>
                <a:latin typeface="Nokia Pure Text Light"/>
              </a:rPr>
              <a:t>Security</a:t>
            </a:r>
            <a:endParaRPr lang="en-GB" sz="140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endParaRPr lang="en-GB" sz="105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r>
              <a:rPr lang="en-US" sz="1200" dirty="0">
                <a:solidFill>
                  <a:schemeClr val="bg1"/>
                </a:solidFill>
                <a:latin typeface="Nokia Pure Text Light"/>
              </a:rPr>
              <a:t>H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igh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 risk for hacker attacks</a:t>
            </a:r>
          </a:p>
          <a:p>
            <a:pPr defTabSz="685800">
              <a:defRPr/>
            </a:pPr>
            <a:r>
              <a:rPr lang="en-US" sz="800" dirty="0">
                <a:solidFill>
                  <a:schemeClr val="bg1"/>
                </a:solidFill>
                <a:latin typeface="Nokia Pure Text Light"/>
              </a:rPr>
              <a:t>5G: S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ecurit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 by design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defTabSz="685800"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defTabSz="685800">
              <a:defRPr/>
            </a:pPr>
            <a:endParaRPr lang="en-US" sz="1200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9AD7940-B5C1-129B-4965-EBA13D3B65C3}"/>
              </a:ext>
            </a:extLst>
          </p:cNvPr>
          <p:cNvSpPr txBox="1"/>
          <p:nvPr/>
        </p:nvSpPr>
        <p:spPr>
          <a:xfrm>
            <a:off x="6526429" y="3165589"/>
            <a:ext cx="2536821" cy="145424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GB" sz="2800" dirty="0">
                <a:solidFill>
                  <a:srgbClr val="FFFFFF"/>
                </a:solidFill>
                <a:latin typeface="Nokia Pure Text Light"/>
              </a:rPr>
              <a:t>Performance</a:t>
            </a:r>
            <a:endParaRPr lang="en-GB" sz="140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endParaRPr lang="en-GB" sz="1050" dirty="0">
              <a:solidFill>
                <a:srgbClr val="FFFFFF"/>
              </a:solidFill>
              <a:latin typeface="Nokia Pure Text Light"/>
            </a:endParaRPr>
          </a:p>
          <a:p>
            <a:pPr defTabSz="685800">
              <a:defRPr/>
            </a:pPr>
            <a:r>
              <a:rPr lang="en-US" sz="1200" dirty="0">
                <a:solidFill>
                  <a:srgbClr val="FFFFFF"/>
                </a:solidFill>
                <a:latin typeface="Nokia Pure Text Light"/>
              </a:rPr>
              <a:t>Unstable with increasing connected devices, impacting speed and reliability</a:t>
            </a:r>
          </a:p>
          <a:p>
            <a:pPr defTabSz="685800">
              <a:defRPr/>
            </a:pPr>
            <a:endParaRPr lang="en-US" sz="1400" dirty="0">
              <a:solidFill>
                <a:srgbClr val="FFFFFF"/>
              </a:solidFill>
              <a:latin typeface="Nokia Pure Text Light"/>
            </a:endParaRPr>
          </a:p>
        </p:txBody>
      </p:sp>
      <p:grpSp>
        <p:nvGrpSpPr>
          <p:cNvPr id="56" name="Group 58">
            <a:extLst>
              <a:ext uri="{FF2B5EF4-FFF2-40B4-BE49-F238E27FC236}">
                <a16:creationId xmlns:a16="http://schemas.microsoft.com/office/drawing/2014/main" id="{F716ABD0-E134-F78E-B2B7-50616B74BB8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65823" y="3219860"/>
            <a:ext cx="558692" cy="483070"/>
            <a:chOff x="2632" y="1411"/>
            <a:chExt cx="495" cy="428"/>
          </a:xfrm>
          <a:noFill/>
        </p:grpSpPr>
        <p:sp>
          <p:nvSpPr>
            <p:cNvPr id="57" name="Freeform 59">
              <a:extLst>
                <a:ext uri="{FF2B5EF4-FFF2-40B4-BE49-F238E27FC236}">
                  <a16:creationId xmlns:a16="http://schemas.microsoft.com/office/drawing/2014/main" id="{6AE5D1A9-EEA0-4DE2-A274-53A94DE0D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" y="1559"/>
              <a:ext cx="290" cy="280"/>
            </a:xfrm>
            <a:custGeom>
              <a:avLst/>
              <a:gdLst>
                <a:gd name="T0" fmla="*/ 59 w 59"/>
                <a:gd name="T1" fmla="*/ 0 h 57"/>
                <a:gd name="T2" fmla="*/ 59 w 59"/>
                <a:gd name="T3" fmla="*/ 28 h 57"/>
                <a:gd name="T4" fmla="*/ 30 w 59"/>
                <a:gd name="T5" fmla="*/ 57 h 57"/>
                <a:gd name="T6" fmla="*/ 30 w 59"/>
                <a:gd name="T7" fmla="*/ 57 h 57"/>
                <a:gd name="T8" fmla="*/ 0 w 59"/>
                <a:gd name="T9" fmla="*/ 28 h 57"/>
                <a:gd name="T10" fmla="*/ 0 w 59"/>
                <a:gd name="T11" fmla="*/ 0 h 57"/>
                <a:gd name="T12" fmla="*/ 59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59" y="0"/>
                  </a:moveTo>
                  <a:cubicBezTo>
                    <a:pt x="59" y="28"/>
                    <a:pt x="59" y="28"/>
                    <a:pt x="59" y="28"/>
                  </a:cubicBezTo>
                  <a:cubicBezTo>
                    <a:pt x="59" y="44"/>
                    <a:pt x="46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13" y="57"/>
                    <a:pt x="0" y="44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9" y="0"/>
                  </a:ln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8" name="Freeform 60">
              <a:extLst>
                <a:ext uri="{FF2B5EF4-FFF2-40B4-BE49-F238E27FC236}">
                  <a16:creationId xmlns:a16="http://schemas.microsoft.com/office/drawing/2014/main" id="{D5319697-95E9-2837-E156-C4B88A0C6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6" y="1613"/>
              <a:ext cx="102" cy="147"/>
            </a:xfrm>
            <a:custGeom>
              <a:avLst/>
              <a:gdLst>
                <a:gd name="T0" fmla="*/ 21 w 21"/>
                <a:gd name="T1" fmla="*/ 10 h 30"/>
                <a:gd name="T2" fmla="*/ 10 w 21"/>
                <a:gd name="T3" fmla="*/ 0 h 30"/>
                <a:gd name="T4" fmla="*/ 0 w 21"/>
                <a:gd name="T5" fmla="*/ 10 h 30"/>
                <a:gd name="T6" fmla="*/ 6 w 21"/>
                <a:gd name="T7" fmla="*/ 19 h 30"/>
                <a:gd name="T8" fmla="*/ 6 w 21"/>
                <a:gd name="T9" fmla="*/ 30 h 30"/>
                <a:gd name="T10" fmla="*/ 15 w 21"/>
                <a:gd name="T11" fmla="*/ 30 h 30"/>
                <a:gd name="T12" fmla="*/ 15 w 21"/>
                <a:gd name="T13" fmla="*/ 19 h 30"/>
                <a:gd name="T14" fmla="*/ 21 w 21"/>
                <a:gd name="T15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0">
                  <a:moveTo>
                    <a:pt x="21" y="10"/>
                  </a:moveTo>
                  <a:cubicBezTo>
                    <a:pt x="21" y="4"/>
                    <a:pt x="16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4"/>
                    <a:pt x="3" y="18"/>
                    <a:pt x="6" y="1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8" y="18"/>
                    <a:pt x="21" y="14"/>
                    <a:pt x="21" y="10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59" name="Freeform 61">
              <a:extLst>
                <a:ext uri="{FF2B5EF4-FFF2-40B4-BE49-F238E27FC236}">
                  <a16:creationId xmlns:a16="http://schemas.microsoft.com/office/drawing/2014/main" id="{8D2D26B2-FB9D-0E03-2734-6379CF5BA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" y="1411"/>
              <a:ext cx="245" cy="148"/>
            </a:xfrm>
            <a:custGeom>
              <a:avLst/>
              <a:gdLst>
                <a:gd name="T0" fmla="*/ 50 w 50"/>
                <a:gd name="T1" fmla="*/ 25 h 30"/>
                <a:gd name="T2" fmla="*/ 25 w 50"/>
                <a:gd name="T3" fmla="*/ 0 h 30"/>
                <a:gd name="T4" fmla="*/ 0 w 50"/>
                <a:gd name="T5" fmla="*/ 25 h 30"/>
                <a:gd name="T6" fmla="*/ 0 w 50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30">
                  <a:moveTo>
                    <a:pt x="50" y="25"/>
                  </a:moveTo>
                  <a:cubicBezTo>
                    <a:pt x="50" y="11"/>
                    <a:pt x="39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0"/>
                    <a:pt x="0" y="30"/>
                    <a:pt x="0" y="30"/>
                  </a:cubicBezTo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BFEF9E9-A92D-1BFF-F721-134A070FC66A}"/>
              </a:ext>
            </a:extLst>
          </p:cNvPr>
          <p:cNvGrpSpPr/>
          <p:nvPr/>
        </p:nvGrpSpPr>
        <p:grpSpPr>
          <a:xfrm>
            <a:off x="3369393" y="1383263"/>
            <a:ext cx="492785" cy="489942"/>
            <a:chOff x="697749" y="1149239"/>
            <a:chExt cx="489875" cy="492250"/>
          </a:xfrm>
          <a:noFill/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A366C6BD-F902-E950-CFA0-33D300559039}"/>
                </a:ext>
              </a:extLst>
            </p:cNvPr>
            <p:cNvSpPr/>
            <p:nvPr/>
          </p:nvSpPr>
          <p:spPr>
            <a:xfrm>
              <a:off x="855828" y="1149239"/>
              <a:ext cx="107533" cy="107533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3B196348-BF41-6521-3877-0DB343F3860F}"/>
                </a:ext>
              </a:extLst>
            </p:cNvPr>
            <p:cNvSpPr/>
            <p:nvPr/>
          </p:nvSpPr>
          <p:spPr>
            <a:xfrm>
              <a:off x="697749" y="1533956"/>
              <a:ext cx="107533" cy="107533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864B0E34-B010-E736-E499-4EC7F95673C0}"/>
                </a:ext>
              </a:extLst>
            </p:cNvPr>
            <p:cNvCxnSpPr/>
            <p:nvPr/>
          </p:nvCxnSpPr>
          <p:spPr>
            <a:xfrm flipV="1">
              <a:off x="909594" y="1256773"/>
              <a:ext cx="0" cy="50297"/>
            </a:xfrm>
            <a:prstGeom prst="lin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F08D45EA-0ED3-1F0D-610F-B6EB43ED2B08}"/>
                </a:ext>
              </a:extLst>
            </p:cNvPr>
            <p:cNvCxnSpPr/>
            <p:nvPr/>
          </p:nvCxnSpPr>
          <p:spPr>
            <a:xfrm flipV="1">
              <a:off x="793360" y="1516875"/>
              <a:ext cx="30529" cy="30530"/>
            </a:xfrm>
            <a:prstGeom prst="lin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195864DD-ED9B-E5EE-0F6F-6FF9B3AF780A}"/>
                </a:ext>
              </a:extLst>
            </p:cNvPr>
            <p:cNvCxnSpPr/>
            <p:nvPr/>
          </p:nvCxnSpPr>
          <p:spPr>
            <a:xfrm rot="8100000" flipV="1">
              <a:off x="1017584" y="1503717"/>
              <a:ext cx="0" cy="65963"/>
            </a:xfrm>
            <a:prstGeom prst="lin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</p:cxnSp>
        <p:sp>
          <p:nvSpPr>
            <p:cNvPr id="66" name="Arc 65">
              <a:extLst>
                <a:ext uri="{FF2B5EF4-FFF2-40B4-BE49-F238E27FC236}">
                  <a16:creationId xmlns:a16="http://schemas.microsoft.com/office/drawing/2014/main" id="{0C8FE235-F968-7EBA-9BA1-F97541FF2326}"/>
                </a:ext>
              </a:extLst>
            </p:cNvPr>
            <p:cNvSpPr/>
            <p:nvPr/>
          </p:nvSpPr>
          <p:spPr>
            <a:xfrm>
              <a:off x="785396" y="1307069"/>
              <a:ext cx="240818" cy="240818"/>
            </a:xfrm>
            <a:prstGeom prst="arc">
              <a:avLst>
                <a:gd name="adj1" fmla="val 21505890"/>
                <a:gd name="adj2" fmla="val 21396331"/>
              </a:avLst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6E5BF4FF-0FDA-B583-AC37-6C62D337392F}"/>
                </a:ext>
              </a:extLst>
            </p:cNvPr>
            <p:cNvSpPr/>
            <p:nvPr/>
          </p:nvSpPr>
          <p:spPr>
            <a:xfrm>
              <a:off x="1080091" y="1370597"/>
              <a:ext cx="107533" cy="107533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05407432-BBB4-91B2-B98F-75F63443E735}"/>
                </a:ext>
              </a:extLst>
            </p:cNvPr>
            <p:cNvSpPr/>
            <p:nvPr/>
          </p:nvSpPr>
          <p:spPr>
            <a:xfrm>
              <a:off x="1009138" y="1533956"/>
              <a:ext cx="107533" cy="107533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8B9BD57F-45CB-A618-48AD-E24610152217}"/>
                </a:ext>
              </a:extLst>
            </p:cNvPr>
            <p:cNvCxnSpPr>
              <a:stCxn id="66" idx="0"/>
              <a:endCxn id="67" idx="2"/>
            </p:cNvCxnSpPr>
            <p:nvPr/>
          </p:nvCxnSpPr>
          <p:spPr>
            <a:xfrm>
              <a:off x="1026169" y="1424183"/>
              <a:ext cx="53921" cy="181"/>
            </a:xfrm>
            <a:prstGeom prst="lin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</p:cxn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CE739E0-26FF-B70A-AA87-D714A29088A8}"/>
              </a:ext>
            </a:extLst>
          </p:cNvPr>
          <p:cNvGrpSpPr/>
          <p:nvPr/>
        </p:nvGrpSpPr>
        <p:grpSpPr>
          <a:xfrm>
            <a:off x="6093975" y="1436777"/>
            <a:ext cx="442094" cy="414950"/>
            <a:chOff x="4540188" y="-106731"/>
            <a:chExt cx="423664" cy="423664"/>
          </a:xfrm>
          <a:noFill/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C7899969-6864-E754-1F0C-C0529C0C9F85}"/>
                </a:ext>
              </a:extLst>
            </p:cNvPr>
            <p:cNvSpPr/>
            <p:nvPr/>
          </p:nvSpPr>
          <p:spPr>
            <a:xfrm>
              <a:off x="4540188" y="-106731"/>
              <a:ext cx="423664" cy="423664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F33A62A7-A5D9-8D30-ABC4-ED50A901DF3D}"/>
                </a:ext>
              </a:extLst>
            </p:cNvPr>
            <p:cNvSpPr/>
            <p:nvPr/>
          </p:nvSpPr>
          <p:spPr>
            <a:xfrm>
              <a:off x="4643149" y="-3770"/>
              <a:ext cx="217742" cy="217742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4AA3FDAF-7C59-2313-8BBD-99D3E7223058}"/>
              </a:ext>
            </a:extLst>
          </p:cNvPr>
          <p:cNvGrpSpPr/>
          <p:nvPr/>
        </p:nvGrpSpPr>
        <p:grpSpPr>
          <a:xfrm>
            <a:off x="576467" y="1426151"/>
            <a:ext cx="440156" cy="414956"/>
            <a:chOff x="4890775" y="1929163"/>
            <a:chExt cx="429885" cy="431622"/>
          </a:xfrm>
          <a:noFill/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F4C56657-930A-8991-156B-A325E45D16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0775" y="1929163"/>
              <a:ext cx="429885" cy="431622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AEA054BA-F90E-5CF7-A37A-D0EEB9EEAB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4440" y="2190049"/>
              <a:ext cx="42554" cy="42554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6" name="Line 46">
              <a:extLst>
                <a:ext uri="{FF2B5EF4-FFF2-40B4-BE49-F238E27FC236}">
                  <a16:creationId xmlns:a16="http://schemas.microsoft.com/office/drawing/2014/main" id="{AC14BB3B-0E67-A3B2-2808-87488F3ED4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038411" y="2080530"/>
              <a:ext cx="66003" cy="134354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7" name="Line 47">
              <a:extLst>
                <a:ext uri="{FF2B5EF4-FFF2-40B4-BE49-F238E27FC236}">
                  <a16:creationId xmlns:a16="http://schemas.microsoft.com/office/drawing/2014/main" id="{841202B5-1657-9E84-00A8-D3C8CF1808B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04415" y="1954348"/>
              <a:ext cx="0" cy="55581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8" name="Line 48">
              <a:extLst>
                <a:ext uri="{FF2B5EF4-FFF2-40B4-BE49-F238E27FC236}">
                  <a16:creationId xmlns:a16="http://schemas.microsoft.com/office/drawing/2014/main" id="{91570D25-36FB-19F9-DC3D-AA9621A7B0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37671" y="2048141"/>
              <a:ext cx="46896" cy="26054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9" name="Line 49">
              <a:extLst>
                <a:ext uri="{FF2B5EF4-FFF2-40B4-BE49-F238E27FC236}">
                  <a16:creationId xmlns:a16="http://schemas.microsoft.com/office/drawing/2014/main" id="{28F01514-B948-EC90-D2BE-9807445086D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227735" y="2048141"/>
              <a:ext cx="46896" cy="26054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0" name="Line 50">
              <a:extLst>
                <a:ext uri="{FF2B5EF4-FFF2-40B4-BE49-F238E27FC236}">
                  <a16:creationId xmlns:a16="http://schemas.microsoft.com/office/drawing/2014/main" id="{0652F480-F551-64EA-C36B-812DEA6E54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50443" y="1963033"/>
              <a:ext cx="13027" cy="51239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1" name="Line 51">
              <a:extLst>
                <a:ext uri="{FF2B5EF4-FFF2-40B4-BE49-F238E27FC236}">
                  <a16:creationId xmlns:a16="http://schemas.microsoft.com/office/drawing/2014/main" id="{E90724C0-ACBD-8423-790C-890FF43EFC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040149" y="1967375"/>
              <a:ext cx="17369" cy="51239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2" name="Line 52">
              <a:extLst>
                <a:ext uri="{FF2B5EF4-FFF2-40B4-BE49-F238E27FC236}">
                  <a16:creationId xmlns:a16="http://schemas.microsoft.com/office/drawing/2014/main" id="{E4D0B0F8-E48E-D1DF-AC41-4453E0098A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84568" y="1996902"/>
              <a:ext cx="30396" cy="42554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83" name="Line 53">
              <a:extLst>
                <a:ext uri="{FF2B5EF4-FFF2-40B4-BE49-F238E27FC236}">
                  <a16:creationId xmlns:a16="http://schemas.microsoft.com/office/drawing/2014/main" id="{4D0FABB4-2B72-05EB-63FE-CD11A7532F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2998" y="1996902"/>
              <a:ext cx="34738" cy="42554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A974E8B-D6D2-059F-8665-7D05EC2ADE76}"/>
              </a:ext>
            </a:extLst>
          </p:cNvPr>
          <p:cNvGrpSpPr/>
          <p:nvPr/>
        </p:nvGrpSpPr>
        <p:grpSpPr>
          <a:xfrm>
            <a:off x="6148073" y="3266953"/>
            <a:ext cx="359695" cy="369674"/>
            <a:chOff x="4462206" y="2638982"/>
            <a:chExt cx="829873" cy="829873"/>
          </a:xfrm>
          <a:noFill/>
        </p:grpSpPr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65E1E74A-CCD7-0425-2692-9805E303F8A8}"/>
                </a:ext>
              </a:extLst>
            </p:cNvPr>
            <p:cNvSpPr/>
            <p:nvPr/>
          </p:nvSpPr>
          <p:spPr>
            <a:xfrm>
              <a:off x="4462206" y="2638982"/>
              <a:ext cx="829873" cy="829873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2419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AD28542A-792F-F601-5C8B-7F2A9A76A547}"/>
                </a:ext>
              </a:extLst>
            </p:cNvPr>
            <p:cNvCxnSpPr/>
            <p:nvPr/>
          </p:nvCxnSpPr>
          <p:spPr>
            <a:xfrm flipV="1">
              <a:off x="4877142" y="2715766"/>
              <a:ext cx="0" cy="338152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C72C7FEE-4FF4-E2A7-A440-97D9D055173E}"/>
                </a:ext>
              </a:extLst>
            </p:cNvPr>
            <p:cNvCxnSpPr/>
            <p:nvPr/>
          </p:nvCxnSpPr>
          <p:spPr>
            <a:xfrm>
              <a:off x="4877142" y="3053918"/>
              <a:ext cx="342930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</p:cxn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BC385BB0-C5BE-5BFA-BBD3-6FD689FC4A08}"/>
              </a:ext>
            </a:extLst>
          </p:cNvPr>
          <p:cNvGrpSpPr>
            <a:grpSpLocks noChangeAspect="1"/>
          </p:cNvGrpSpPr>
          <p:nvPr/>
        </p:nvGrpSpPr>
        <p:grpSpPr>
          <a:xfrm>
            <a:off x="442551" y="3146323"/>
            <a:ext cx="609286" cy="481160"/>
            <a:chOff x="3902001" y="2801970"/>
            <a:chExt cx="576035" cy="454906"/>
          </a:xfrm>
        </p:grpSpPr>
        <p:grpSp>
          <p:nvGrpSpPr>
            <p:cNvPr id="89" name="Group 260">
              <a:extLst>
                <a:ext uri="{FF2B5EF4-FFF2-40B4-BE49-F238E27FC236}">
                  <a16:creationId xmlns:a16="http://schemas.microsoft.com/office/drawing/2014/main" id="{24D62998-F5B0-4BC4-4C23-37384DA48DE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flipH="1">
              <a:off x="3902001" y="2968794"/>
              <a:ext cx="576035" cy="288082"/>
              <a:chOff x="2559" y="1445"/>
              <a:chExt cx="632" cy="340"/>
            </a:xfrm>
          </p:grpSpPr>
          <p:sp>
            <p:nvSpPr>
              <p:cNvPr id="96" name="Freeform 261">
                <a:extLst>
                  <a:ext uri="{FF2B5EF4-FFF2-40B4-BE49-F238E27FC236}">
                    <a16:creationId xmlns:a16="http://schemas.microsoft.com/office/drawing/2014/main" id="{944B7DD6-648D-AEAC-1E9C-6B259B441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3" y="1445"/>
                <a:ext cx="568" cy="182"/>
              </a:xfrm>
              <a:custGeom>
                <a:avLst/>
                <a:gdLst>
                  <a:gd name="T0" fmla="*/ 0 w 568"/>
                  <a:gd name="T1" fmla="*/ 25 h 182"/>
                  <a:gd name="T2" fmla="*/ 103 w 568"/>
                  <a:gd name="T3" fmla="*/ 25 h 182"/>
                  <a:gd name="T4" fmla="*/ 122 w 568"/>
                  <a:gd name="T5" fmla="*/ 50 h 182"/>
                  <a:gd name="T6" fmla="*/ 161 w 568"/>
                  <a:gd name="T7" fmla="*/ 158 h 182"/>
                  <a:gd name="T8" fmla="*/ 210 w 568"/>
                  <a:gd name="T9" fmla="*/ 182 h 182"/>
                  <a:gd name="T10" fmla="*/ 299 w 568"/>
                  <a:gd name="T11" fmla="*/ 182 h 182"/>
                  <a:gd name="T12" fmla="*/ 568 w 568"/>
                  <a:gd name="T13" fmla="*/ 89 h 182"/>
                  <a:gd name="T14" fmla="*/ 549 w 568"/>
                  <a:gd name="T15" fmla="*/ 40 h 182"/>
                  <a:gd name="T16" fmla="*/ 206 w 568"/>
                  <a:gd name="T17" fmla="*/ 40 h 182"/>
                  <a:gd name="T18" fmla="*/ 103 w 568"/>
                  <a:gd name="T19" fmla="*/ 0 h 182"/>
                  <a:gd name="T20" fmla="*/ 0 w 568"/>
                  <a:gd name="T21" fmla="*/ 0 h 182"/>
                  <a:gd name="T22" fmla="*/ 0 w 568"/>
                  <a:gd name="T23" fmla="*/ 25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68" h="182">
                    <a:moveTo>
                      <a:pt x="0" y="25"/>
                    </a:moveTo>
                    <a:lnTo>
                      <a:pt x="103" y="25"/>
                    </a:lnTo>
                    <a:lnTo>
                      <a:pt x="122" y="50"/>
                    </a:lnTo>
                    <a:lnTo>
                      <a:pt x="161" y="158"/>
                    </a:lnTo>
                    <a:lnTo>
                      <a:pt x="210" y="182"/>
                    </a:lnTo>
                    <a:lnTo>
                      <a:pt x="299" y="182"/>
                    </a:lnTo>
                    <a:lnTo>
                      <a:pt x="568" y="89"/>
                    </a:lnTo>
                    <a:lnTo>
                      <a:pt x="549" y="40"/>
                    </a:lnTo>
                    <a:lnTo>
                      <a:pt x="206" y="40"/>
                    </a:lnTo>
                    <a:lnTo>
                      <a:pt x="103" y="0"/>
                    </a:lnTo>
                    <a:lnTo>
                      <a:pt x="0" y="0"/>
                    </a:lnTo>
                    <a:lnTo>
                      <a:pt x="0" y="25"/>
                    </a:lnTo>
                    <a:close/>
                  </a:path>
                </a:pathLst>
              </a:cu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97" name="Freeform 262">
                <a:extLst>
                  <a:ext uri="{FF2B5EF4-FFF2-40B4-BE49-F238E27FC236}">
                    <a16:creationId xmlns:a16="http://schemas.microsoft.com/office/drawing/2014/main" id="{C51C8315-DA0B-1B5A-EFEF-D48ADBF19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" y="1490"/>
                <a:ext cx="186" cy="221"/>
              </a:xfrm>
              <a:custGeom>
                <a:avLst/>
                <a:gdLst>
                  <a:gd name="T0" fmla="*/ 17 w 38"/>
                  <a:gd name="T1" fmla="*/ 0 h 45"/>
                  <a:gd name="T2" fmla="*/ 13 w 38"/>
                  <a:gd name="T3" fmla="*/ 18 h 45"/>
                  <a:gd name="T4" fmla="*/ 0 w 38"/>
                  <a:gd name="T5" fmla="*/ 18 h 45"/>
                  <a:gd name="T6" fmla="*/ 0 w 38"/>
                  <a:gd name="T7" fmla="*/ 45 h 45"/>
                  <a:gd name="T8" fmla="*/ 15 w 38"/>
                  <a:gd name="T9" fmla="*/ 45 h 45"/>
                  <a:gd name="T10" fmla="*/ 38 w 38"/>
                  <a:gd name="T11" fmla="*/ 22 h 45"/>
                  <a:gd name="T12" fmla="*/ 38 w 38"/>
                  <a:gd name="T13" fmla="*/ 18 h 45"/>
                  <a:gd name="T14" fmla="*/ 34 w 38"/>
                  <a:gd name="T15" fmla="*/ 18 h 45"/>
                  <a:gd name="T16" fmla="*/ 34 w 38"/>
                  <a:gd name="T17" fmla="*/ 4 h 45"/>
                  <a:gd name="T18" fmla="*/ 32 w 38"/>
                  <a:gd name="T19" fmla="*/ 0 h 45"/>
                  <a:gd name="T20" fmla="*/ 17 w 3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45">
                    <a:moveTo>
                      <a:pt x="17" y="0"/>
                    </a:moveTo>
                    <a:cubicBezTo>
                      <a:pt x="13" y="18"/>
                      <a:pt x="13" y="18"/>
                      <a:pt x="13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15" y="45"/>
                      <a:pt x="15" y="45"/>
                      <a:pt x="15" y="45"/>
                    </a:cubicBezTo>
                    <a:cubicBezTo>
                      <a:pt x="15" y="45"/>
                      <a:pt x="15" y="23"/>
                      <a:pt x="38" y="22"/>
                    </a:cubicBezTo>
                    <a:cubicBezTo>
                      <a:pt x="38" y="18"/>
                      <a:pt x="38" y="18"/>
                      <a:pt x="38" y="18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17" y="0"/>
                    </a:lnTo>
                    <a:close/>
                  </a:path>
                </a:pathLst>
              </a:cu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98" name="Oval 263">
                <a:extLst>
                  <a:ext uri="{FF2B5EF4-FFF2-40B4-BE49-F238E27FC236}">
                    <a16:creationId xmlns:a16="http://schemas.microsoft.com/office/drawing/2014/main" id="{029E3D1F-A9D8-F72A-5707-1BABEDC5A5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7" y="1618"/>
                <a:ext cx="167" cy="167"/>
              </a:xfrm>
              <a:prstGeom prst="ellipse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99" name="Oval 264">
                <a:extLst>
                  <a:ext uri="{FF2B5EF4-FFF2-40B4-BE49-F238E27FC236}">
                    <a16:creationId xmlns:a16="http://schemas.microsoft.com/office/drawing/2014/main" id="{DA23D0D5-8FEA-12FB-11A4-A72FE30A6E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1" y="1662"/>
                <a:ext cx="74" cy="74"/>
              </a:xfrm>
              <a:prstGeom prst="ellipse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100" name="Oval 265">
                <a:extLst>
                  <a:ext uri="{FF2B5EF4-FFF2-40B4-BE49-F238E27FC236}">
                    <a16:creationId xmlns:a16="http://schemas.microsoft.com/office/drawing/2014/main" id="{6DE43DB7-FC33-4646-A4F3-DE9F64C9AE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36" y="1618"/>
                <a:ext cx="162" cy="167"/>
              </a:xfrm>
              <a:prstGeom prst="ellipse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101" name="Oval 266">
                <a:extLst>
                  <a:ext uri="{FF2B5EF4-FFF2-40B4-BE49-F238E27FC236}">
                    <a16:creationId xmlns:a16="http://schemas.microsoft.com/office/drawing/2014/main" id="{E92F5AEA-2A07-E022-27C6-055B2B5516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0" y="1662"/>
                <a:ext cx="74" cy="74"/>
              </a:xfrm>
              <a:prstGeom prst="ellipse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102" name="Line 267">
                <a:extLst>
                  <a:ext uri="{FF2B5EF4-FFF2-40B4-BE49-F238E27FC236}">
                    <a16:creationId xmlns:a16="http://schemas.microsoft.com/office/drawing/2014/main" id="{86ED0204-EEAC-1ABD-C08C-0E514BF1C1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77" y="1490"/>
                <a:ext cx="0" cy="88"/>
              </a:xfrm>
              <a:prstGeom prst="line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103" name="Line 268">
                <a:extLst>
                  <a:ext uri="{FF2B5EF4-FFF2-40B4-BE49-F238E27FC236}">
                    <a16:creationId xmlns:a16="http://schemas.microsoft.com/office/drawing/2014/main" id="{9968EA67-419A-64CC-B99E-DFA9179452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3" y="1578"/>
                <a:ext cx="108" cy="0"/>
              </a:xfrm>
              <a:prstGeom prst="line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104" name="Line 269">
                <a:extLst>
                  <a:ext uri="{FF2B5EF4-FFF2-40B4-BE49-F238E27FC236}">
                    <a16:creationId xmlns:a16="http://schemas.microsoft.com/office/drawing/2014/main" id="{7058B634-C116-A339-462B-376085787E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4" y="1652"/>
                <a:ext cx="147" cy="0"/>
              </a:xfrm>
              <a:prstGeom prst="line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105" name="Line 270">
                <a:extLst>
                  <a:ext uri="{FF2B5EF4-FFF2-40B4-BE49-F238E27FC236}">
                    <a16:creationId xmlns:a16="http://schemas.microsoft.com/office/drawing/2014/main" id="{11590D96-9B23-754A-9C69-40210643CB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24" y="1701"/>
                <a:ext cx="112" cy="0"/>
              </a:xfrm>
              <a:prstGeom prst="line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A5705963-9CD2-4004-FEFF-B347C81D7D8E}"/>
                </a:ext>
              </a:extLst>
            </p:cNvPr>
            <p:cNvGrpSpPr/>
            <p:nvPr/>
          </p:nvGrpSpPr>
          <p:grpSpPr>
            <a:xfrm>
              <a:off x="4023120" y="2801970"/>
              <a:ext cx="222802" cy="287853"/>
              <a:chOff x="5972186" y="2722290"/>
              <a:chExt cx="222802" cy="287853"/>
            </a:xfrm>
          </p:grpSpPr>
          <p:sp>
            <p:nvSpPr>
              <p:cNvPr id="91" name="AutoShape 241">
                <a:extLst>
                  <a:ext uri="{FF2B5EF4-FFF2-40B4-BE49-F238E27FC236}">
                    <a16:creationId xmlns:a16="http://schemas.microsoft.com/office/drawing/2014/main" id="{88BBD195-A1EE-47CB-B041-5B196B7D0E0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972186" y="2722290"/>
                <a:ext cx="222802" cy="28785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92" name="Freeform 243">
                <a:extLst>
                  <a:ext uri="{FF2B5EF4-FFF2-40B4-BE49-F238E27FC236}">
                    <a16:creationId xmlns:a16="http://schemas.microsoft.com/office/drawing/2014/main" id="{36D108F8-2599-107F-319C-52E4090528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8864" y="2788968"/>
                <a:ext cx="89446" cy="22768"/>
              </a:xfrm>
              <a:custGeom>
                <a:avLst/>
                <a:gdLst>
                  <a:gd name="T0" fmla="*/ 15 w 15"/>
                  <a:gd name="T1" fmla="*/ 4 h 4"/>
                  <a:gd name="T2" fmla="*/ 0 w 15"/>
                  <a:gd name="T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5" h="4">
                    <a:moveTo>
                      <a:pt x="15" y="4"/>
                    </a:moveTo>
                    <a:cubicBezTo>
                      <a:pt x="11" y="0"/>
                      <a:pt x="4" y="0"/>
                      <a:pt x="0" y="4"/>
                    </a:cubicBezTo>
                  </a:path>
                </a:pathLst>
              </a:cu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93" name="Freeform 244">
                <a:extLst>
                  <a:ext uri="{FF2B5EF4-FFF2-40B4-BE49-F238E27FC236}">
                    <a16:creationId xmlns:a16="http://schemas.microsoft.com/office/drawing/2014/main" id="{DFE0BDCC-FC75-199A-0BC8-27B31D64BE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3258" y="2824746"/>
                <a:ext cx="40657" cy="11384"/>
              </a:xfrm>
              <a:custGeom>
                <a:avLst/>
                <a:gdLst>
                  <a:gd name="T0" fmla="*/ 0 w 7"/>
                  <a:gd name="T1" fmla="*/ 2 h 2"/>
                  <a:gd name="T2" fmla="*/ 7 w 7"/>
                  <a:gd name="T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cubicBezTo>
                      <a:pt x="2" y="0"/>
                      <a:pt x="5" y="0"/>
                      <a:pt x="7" y="2"/>
                    </a:cubicBezTo>
                  </a:path>
                </a:pathLst>
              </a:cu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94" name="Freeform 245">
                <a:extLst>
                  <a:ext uri="{FF2B5EF4-FFF2-40B4-BE49-F238E27FC236}">
                    <a16:creationId xmlns:a16="http://schemas.microsoft.com/office/drawing/2014/main" id="{EB0CFC0B-38E6-C35A-77F4-A6F7887E8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0975" y="2751563"/>
                <a:ext cx="125224" cy="37405"/>
              </a:xfrm>
              <a:custGeom>
                <a:avLst/>
                <a:gdLst>
                  <a:gd name="T0" fmla="*/ 21 w 21"/>
                  <a:gd name="T1" fmla="*/ 6 h 6"/>
                  <a:gd name="T2" fmla="*/ 0 w 21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1" h="6">
                    <a:moveTo>
                      <a:pt x="21" y="6"/>
                    </a:moveTo>
                    <a:cubicBezTo>
                      <a:pt x="15" y="0"/>
                      <a:pt x="6" y="0"/>
                      <a:pt x="0" y="6"/>
                    </a:cubicBezTo>
                  </a:path>
                </a:pathLst>
              </a:cu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  <p:sp>
            <p:nvSpPr>
              <p:cNvPr id="95" name="Line 246">
                <a:extLst>
                  <a:ext uri="{FF2B5EF4-FFF2-40B4-BE49-F238E27FC236}">
                    <a16:creationId xmlns:a16="http://schemas.microsoft.com/office/drawing/2014/main" id="{8A12B758-88C0-98AD-10E1-7A44FF28AA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81148" y="2854019"/>
                <a:ext cx="0" cy="0"/>
              </a:xfrm>
              <a:prstGeom prst="line">
                <a:avLst/>
              </a:prstGeom>
              <a:noFill/>
              <a:ln w="9525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124191"/>
                  </a:solidFill>
                  <a:effectLst/>
                  <a:uLnTx/>
                  <a:uFillTx/>
                  <a:latin typeface="Nokia Pure Headline Light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06006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1. Master">
  <a:themeElements>
    <a:clrScheme name="Nokia 2023.1">
      <a:dk1>
        <a:srgbClr val="CCCCCC"/>
      </a:dk1>
      <a:lt1>
        <a:srgbClr val="FFFFFF"/>
      </a:lt1>
      <a:dk2>
        <a:srgbClr val="001135"/>
      </a:dk2>
      <a:lt2>
        <a:srgbClr val="666666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esrcID37342_Nokia 2023 - PowerPoint template v1.3.1" id="{646A20B5-B090-C349-93E6-212A708D4030}" vid="{E1824B3E-D4EF-4840-828B-75B6EE464019}"/>
    </a:ext>
  </a:extLst>
</a:theme>
</file>

<file path=ppt/theme/theme2.xml><?xml version="1.0" encoding="utf-8"?>
<a:theme xmlns:a="http://schemas.openxmlformats.org/drawingml/2006/main" name="2_1. Master">
  <a:themeElements>
    <a:clrScheme name="Nokia 2023.1">
      <a:dk1>
        <a:srgbClr val="CCCCCC"/>
      </a:dk1>
      <a:lt1>
        <a:srgbClr val="FFFFFF"/>
      </a:lt1>
      <a:dk2>
        <a:srgbClr val="001135"/>
      </a:dk2>
      <a:lt2>
        <a:srgbClr val="666666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300"/>
          </a:spcAft>
          <a:buSzPct val="100000"/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2023 - PowerPoint template v1.3.1" id="{C6498D32-F607-4A45-B982-8AB9B1E711BF}" vid="{17D9628A-55E8-4D30-9A9A-80D51FD39DF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d471751-9675-428d-917b-70f44f9630b0}" enabled="0" method="" siteId="{5d471751-9675-428d-917b-70f44f9630b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1</Template>
  <TotalTime>23520</TotalTime>
  <Words>634</Words>
  <Application>Microsoft Macintosh PowerPoint</Application>
  <PresentationFormat>On-screen Show (16:9)</PresentationFormat>
  <Paragraphs>180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Arial</vt:lpstr>
      <vt:lpstr>Calibri</vt:lpstr>
      <vt:lpstr>Nokia Pure Headline</vt:lpstr>
      <vt:lpstr>Nokia Pure Headline Light</vt:lpstr>
      <vt:lpstr>Nokia Pure Headline Ultra Light</vt:lpstr>
      <vt:lpstr>Nokia Pure Text</vt:lpstr>
      <vt:lpstr>Nokia Pure Text Light</vt:lpstr>
      <vt:lpstr>Segoe UI Black</vt:lpstr>
      <vt:lpstr>Segoe UI Light</vt:lpstr>
      <vt:lpstr>Trebuchet MS</vt:lpstr>
      <vt:lpstr>1_1. Master</vt:lpstr>
      <vt:lpstr>2_1. Master</vt:lpstr>
      <vt:lpstr>think-cell Slide</vt:lpstr>
      <vt:lpstr>Diapositiva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rena G. Gomez Gaviria (Nokia)</dc:creator>
  <cp:lastModifiedBy>Lorena G. Gomez Gaviria (Nokia)</cp:lastModifiedBy>
  <cp:revision>5</cp:revision>
  <cp:lastPrinted>2024-06-05T14:29:49Z</cp:lastPrinted>
  <dcterms:created xsi:type="dcterms:W3CDTF">2024-05-19T14:38:35Z</dcterms:created>
  <dcterms:modified xsi:type="dcterms:W3CDTF">2024-06-05T19:38:42Z</dcterms:modified>
</cp:coreProperties>
</file>